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1"/>
  </p:sldMasterIdLst>
  <p:notesMasterIdLst>
    <p:notesMasterId r:id="rId20"/>
  </p:notesMasterIdLst>
  <p:handoutMasterIdLst>
    <p:handoutMasterId r:id="rId21"/>
  </p:handoutMasterIdLst>
  <p:sldIdLst>
    <p:sldId id="350" r:id="rId2"/>
    <p:sldId id="351" r:id="rId3"/>
    <p:sldId id="348" r:id="rId4"/>
    <p:sldId id="349" r:id="rId5"/>
    <p:sldId id="333" r:id="rId6"/>
    <p:sldId id="334" r:id="rId7"/>
    <p:sldId id="335" r:id="rId8"/>
    <p:sldId id="336" r:id="rId9"/>
    <p:sldId id="337" r:id="rId10"/>
    <p:sldId id="338" r:id="rId11"/>
    <p:sldId id="339" r:id="rId12"/>
    <p:sldId id="340" r:id="rId13"/>
    <p:sldId id="341" r:id="rId14"/>
    <p:sldId id="342" r:id="rId15"/>
    <p:sldId id="343" r:id="rId16"/>
    <p:sldId id="344" r:id="rId17"/>
    <p:sldId id="345" r:id="rId18"/>
    <p:sldId id="323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3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4" algn="l" defTabSz="9143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0" algn="l" defTabSz="9143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54" algn="l" defTabSz="9143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39" algn="l" defTabSz="9143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24" algn="l" defTabSz="9143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08" algn="l" defTabSz="9143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93" algn="l" defTabSz="9143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78" algn="l" defTabSz="91437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A00"/>
    <a:srgbClr val="595959"/>
    <a:srgbClr val="E15D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9"/>
    <p:restoredTop sz="89744" autoAdjust="0"/>
  </p:normalViewPr>
  <p:slideViewPr>
    <p:cSldViewPr snapToGrid="0" snapToObjects="1">
      <p:cViewPr varScale="1">
        <p:scale>
          <a:sx n="104" d="100"/>
          <a:sy n="104" d="100"/>
        </p:scale>
        <p:origin x="696" y="15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9" d="100"/>
          <a:sy n="99" d="100"/>
        </p:scale>
        <p:origin x="306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C3458B-EF18-5F4A-951F-387C398AC16F}" type="datetimeFigureOut">
              <a:rPr lang="en-US" smtClean="0"/>
              <a:t>12/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829076-F6FB-7044-8C38-14FE9ED80BC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7425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C09680-503E-4ADC-8388-A2168B10520D}" type="datetimeFigureOut">
              <a:rPr lang="pt-BR" smtClean="0"/>
              <a:t>05/12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210C8-2A3E-4639-834F-2929B3A385A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6976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62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04810" algn="l" defTabSz="60962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09620" algn="l" defTabSz="60962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14431" algn="l" defTabSz="60962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19241" algn="l" defTabSz="60962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24051" algn="l" defTabSz="60962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28861" algn="l" defTabSz="60962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33671" algn="l" defTabSz="60962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438481" algn="l" defTabSz="609620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210C8-2A3E-4639-834F-2929B3A385A1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8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C210C8-2A3E-4639-834F-2929B3A385A1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8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_1">
    <p:bg>
      <p:bgPr>
        <a:solidFill>
          <a:srgbClr val="FF5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583176">
            <a:off x="6991216" y="271255"/>
            <a:ext cx="4074437" cy="75438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053821">
            <a:off x="9446949" y="1681438"/>
            <a:ext cx="2008862" cy="110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601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tx1">
            <a:lumMod val="65000"/>
            <a:lumOff val="3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8975"/>
            <a:ext cx="10515600" cy="563355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rgbClr val="FF5A00"/>
                </a:solidFill>
                <a:latin typeface="Lucida Sans" charset="0"/>
                <a:ea typeface="Lucida Sans" charset="0"/>
                <a:cs typeface="Lucida Sans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838200" y="1471613"/>
            <a:ext cx="4986130" cy="47307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1pPr>
            <a:lvl2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2pPr>
            <a:lvl3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3pPr>
            <a:lvl4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4pPr>
            <a:lvl5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3"/>
          </p:nvPr>
        </p:nvSpPr>
        <p:spPr>
          <a:xfrm>
            <a:off x="6301409" y="1471613"/>
            <a:ext cx="4986130" cy="47307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1pPr>
            <a:lvl2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2pPr>
            <a:lvl3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3pPr>
            <a:lvl4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4pPr>
            <a:lvl5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8975"/>
            <a:ext cx="10515600" cy="563355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rgbClr val="FF5A00"/>
                </a:solidFill>
                <a:latin typeface="Lucida Sans" charset="0"/>
                <a:ea typeface="Lucida Sans" charset="0"/>
                <a:cs typeface="Lucida Sans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838200" y="1471613"/>
            <a:ext cx="4986130" cy="47307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1pPr>
            <a:lvl2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2pPr>
            <a:lvl3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3pPr>
            <a:lvl4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4pPr>
            <a:lvl5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3"/>
          </p:nvPr>
        </p:nvSpPr>
        <p:spPr>
          <a:xfrm>
            <a:off x="6301409" y="1471613"/>
            <a:ext cx="4986130" cy="47307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1pPr>
            <a:lvl2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2pPr>
            <a:lvl3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3pPr>
            <a:lvl4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4pPr>
            <a:lvl5pPr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0088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61F7C1B-12DC-AF4B-A109-009F4AEA1C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233"/>
            <a:ext cx="12192000" cy="685353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423" y="5776316"/>
            <a:ext cx="1434557" cy="64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831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C222D0A-FA86-4B4F-84B0-1A55CA6D83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4297" y="0"/>
            <a:ext cx="194770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782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_1">
    <p:bg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583176">
            <a:off x="6991216" y="271255"/>
            <a:ext cx="4074437" cy="75438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053821">
            <a:off x="9446949" y="1681438"/>
            <a:ext cx="2008862" cy="1107525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FF5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rgbClr val="FF5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8975"/>
            <a:ext cx="10515600" cy="563355"/>
          </a:xfrm>
          <a:prstGeom prst="rect">
            <a:avLst/>
          </a:prstGeom>
        </p:spPr>
        <p:txBody>
          <a:bodyPr/>
          <a:lstStyle>
            <a:lvl1pPr>
              <a:defRPr sz="3000" b="1">
                <a:latin typeface="Lucida Sans" charset="0"/>
                <a:ea typeface="Lucida Sans" charset="0"/>
                <a:cs typeface="Lucida Sans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38200" y="1490869"/>
            <a:ext cx="10496550" cy="4691269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buClr>
                <a:schemeClr val="tx1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1pPr>
            <a:lvl2pPr>
              <a:lnSpc>
                <a:spcPct val="150000"/>
              </a:lnSpc>
              <a:buClr>
                <a:schemeClr val="tx1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2pPr>
            <a:lvl3pPr>
              <a:lnSpc>
                <a:spcPct val="150000"/>
              </a:lnSpc>
              <a:buClr>
                <a:schemeClr val="tx1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3pPr>
            <a:lvl4pPr>
              <a:lnSpc>
                <a:spcPct val="150000"/>
              </a:lnSpc>
              <a:buClr>
                <a:schemeClr val="tx1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4pPr>
            <a:lvl5pPr>
              <a:lnSpc>
                <a:spcPct val="150000"/>
              </a:lnSpc>
              <a:buClr>
                <a:schemeClr val="tx1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8975"/>
            <a:ext cx="10515600" cy="563355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rgbClr val="FF5A00"/>
                </a:solidFill>
                <a:latin typeface="Lucida Sans" charset="0"/>
                <a:ea typeface="Lucida Sans" charset="0"/>
                <a:cs typeface="Lucida Sans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38200" y="1490869"/>
            <a:ext cx="10496550" cy="4691269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1pPr>
            <a:lvl2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2pPr>
            <a:lvl3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3pPr>
            <a:lvl4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4pPr>
            <a:lvl5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8975"/>
            <a:ext cx="10515600" cy="563355"/>
          </a:xfrm>
          <a:prstGeom prst="rect">
            <a:avLst/>
          </a:prstGeom>
        </p:spPr>
        <p:txBody>
          <a:bodyPr/>
          <a:lstStyle>
            <a:lvl1pPr>
              <a:defRPr sz="3000" b="1">
                <a:solidFill>
                  <a:srgbClr val="FF5A00"/>
                </a:solidFill>
                <a:latin typeface="Lucida Sans" charset="0"/>
                <a:ea typeface="Lucida Sans" charset="0"/>
                <a:cs typeface="Lucida Sans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38200" y="1490869"/>
            <a:ext cx="10496550" cy="4691269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1pPr>
            <a:lvl2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2pPr>
            <a:lvl3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3pPr>
            <a:lvl4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4pPr>
            <a:lvl5pPr>
              <a:lnSpc>
                <a:spcPct val="150000"/>
              </a:lnSpc>
              <a:buClr>
                <a:srgbClr val="FF5A00"/>
              </a:buClr>
              <a:buSzPct val="150000"/>
              <a:defRPr sz="180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rgbClr val="FF5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8975"/>
            <a:ext cx="10515600" cy="563355"/>
          </a:xfrm>
          <a:prstGeom prst="rect">
            <a:avLst/>
          </a:prstGeom>
        </p:spPr>
        <p:txBody>
          <a:bodyPr/>
          <a:lstStyle>
            <a:lvl1pPr>
              <a:defRPr sz="3000" b="1">
                <a:latin typeface="Lucida Sans" charset="0"/>
                <a:ea typeface="Lucida Sans" charset="0"/>
                <a:cs typeface="Lucida Sans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838200" y="1471613"/>
            <a:ext cx="4986130" cy="47307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1pPr>
            <a:lvl2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2pPr>
            <a:lvl3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3pPr>
            <a:lvl4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4pPr>
            <a:lvl5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3"/>
          </p:nvPr>
        </p:nvSpPr>
        <p:spPr>
          <a:xfrm>
            <a:off x="6301409" y="1471613"/>
            <a:ext cx="4986130" cy="47307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1pPr>
            <a:lvl2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2pPr>
            <a:lvl3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3pPr>
            <a:lvl4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4pPr>
            <a:lvl5pPr>
              <a:defRPr sz="1800">
                <a:solidFill>
                  <a:schemeClr val="bg1"/>
                </a:solidFill>
                <a:latin typeface="Lucida Sans" charset="0"/>
                <a:ea typeface="Lucida Sans" charset="0"/>
                <a:cs typeface="Lucida Sans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077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32" r:id="rId2"/>
    <p:sldLayoutId id="2147483714" r:id="rId3"/>
    <p:sldLayoutId id="2147483709" r:id="rId4"/>
    <p:sldLayoutId id="2147483710" r:id="rId5"/>
    <p:sldLayoutId id="2147483733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11" r:id="rId12"/>
    <p:sldLayoutId id="2147483741" r:id="rId13"/>
    <p:sldLayoutId id="2147483742" r:id="rId14"/>
  </p:sldLayoutIdLst>
  <p:txStyles>
    <p:titleStyle>
      <a:lvl1pPr algn="l" defTabSz="609660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16" indent="-152416" algn="l" defTabSz="60966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indent="-152416" algn="l" defTabSz="609660" rtl="0" eaLnBrk="1" latinLnBrk="0" hangingPunct="1">
        <a:lnSpc>
          <a:spcPct val="90000"/>
        </a:lnSpc>
        <a:spcBef>
          <a:spcPts val="333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76" indent="-152416" algn="l" defTabSz="609660" rtl="0" eaLnBrk="1" latinLnBrk="0" hangingPunct="1">
        <a:lnSpc>
          <a:spcPct val="90000"/>
        </a:lnSpc>
        <a:spcBef>
          <a:spcPts val="333"/>
        </a:spcBef>
        <a:buFont typeface="Arial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907" indent="-152416" algn="l" defTabSz="609660" rtl="0" eaLnBrk="1" latinLnBrk="0" hangingPunct="1">
        <a:lnSpc>
          <a:spcPct val="90000"/>
        </a:lnSpc>
        <a:spcBef>
          <a:spcPts val="333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38" indent="-152416" algn="l" defTabSz="609660" rtl="0" eaLnBrk="1" latinLnBrk="0" hangingPunct="1">
        <a:lnSpc>
          <a:spcPct val="90000"/>
        </a:lnSpc>
        <a:spcBef>
          <a:spcPts val="333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568" indent="-152416" algn="l" defTabSz="609660" rtl="0" eaLnBrk="1" latinLnBrk="0" hangingPunct="1">
        <a:lnSpc>
          <a:spcPct val="90000"/>
        </a:lnSpc>
        <a:spcBef>
          <a:spcPts val="333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398" indent="-152416" algn="l" defTabSz="609660" rtl="0" eaLnBrk="1" latinLnBrk="0" hangingPunct="1">
        <a:lnSpc>
          <a:spcPct val="90000"/>
        </a:lnSpc>
        <a:spcBef>
          <a:spcPts val="333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228" indent="-152416" algn="l" defTabSz="609660" rtl="0" eaLnBrk="1" latinLnBrk="0" hangingPunct="1">
        <a:lnSpc>
          <a:spcPct val="90000"/>
        </a:lnSpc>
        <a:spcBef>
          <a:spcPts val="333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1060" indent="-152416" algn="l" defTabSz="609660" rtl="0" eaLnBrk="1" latinLnBrk="0" hangingPunct="1">
        <a:lnSpc>
          <a:spcPct val="90000"/>
        </a:lnSpc>
        <a:spcBef>
          <a:spcPts val="333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31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60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92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322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152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983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814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644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mp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image" Target="../media/image6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oleObject" Target="../embeddings/oleObject2.bin"/><Relationship Id="rId2" Type="http://schemas.openxmlformats.org/officeDocument/2006/relationships/tags" Target="../tags/tag14.xml"/><Relationship Id="rId16" Type="http://schemas.openxmlformats.org/officeDocument/2006/relationships/slideLayout" Target="../slideLayouts/slideLayout14.xml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10" Type="http://schemas.openxmlformats.org/officeDocument/2006/relationships/tags" Target="../tags/tag22.xml"/><Relationship Id="rId19" Type="http://schemas.openxmlformats.org/officeDocument/2006/relationships/image" Target="../media/image16.tmp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18.pn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tags" Target="../tags/tag32.xml"/><Relationship Id="rId11" Type="http://schemas.openxmlformats.org/officeDocument/2006/relationships/oleObject" Target="../embeddings/oleObject3.bin"/><Relationship Id="rId5" Type="http://schemas.openxmlformats.org/officeDocument/2006/relationships/tags" Target="../tags/tag31.xml"/><Relationship Id="rId15" Type="http://schemas.openxmlformats.org/officeDocument/2006/relationships/image" Target="../media/image20.png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7.jpeg"/><Relationship Id="rId2" Type="http://schemas.openxmlformats.org/officeDocument/2006/relationships/tags" Target="../tags/tag2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13.tmp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0">
            <a:extLst>
              <a:ext uri="{FF2B5EF4-FFF2-40B4-BE49-F238E27FC236}">
                <a16:creationId xmlns:a16="http://schemas.microsoft.com/office/drawing/2014/main" xmlns="" id="{E8BAE2A3-1437-6840-BA2A-1F338FE8D0BB}"/>
              </a:ext>
            </a:extLst>
          </p:cNvPr>
          <p:cNvSpPr txBox="1">
            <a:spLocks/>
          </p:cNvSpPr>
          <p:nvPr/>
        </p:nvSpPr>
        <p:spPr>
          <a:xfrm>
            <a:off x="780871" y="2447274"/>
            <a:ext cx="8101872" cy="1331575"/>
          </a:xfrm>
          <a:prstGeom prst="rect">
            <a:avLst/>
          </a:prstGeom>
        </p:spPr>
        <p:txBody>
          <a:bodyPr lIns="45738" tIns="22869" rIns="45738" bIns="2286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5200" b="1" i="0" kern="1200">
                <a:solidFill>
                  <a:schemeClr val="bg1"/>
                </a:solidFill>
                <a:latin typeface="Sansa Soft Pro SemiBold" charset="0"/>
                <a:ea typeface="Sansa Soft Pro SemiBold" charset="0"/>
                <a:cs typeface="Sansa Soft Pro SemiBold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b="0" dirty="0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  <a:t>SMS Brazil 2018 – Safety Cases</a:t>
            </a:r>
          </a:p>
          <a:p>
            <a:r>
              <a:rPr lang="en-US" sz="4000" b="0" dirty="0" smtClean="0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  <a:t> </a:t>
            </a:r>
            <a:r>
              <a:rPr lang="en-US" sz="4000" b="0" dirty="0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  <a:t/>
            </a:r>
            <a:br>
              <a:rPr lang="en-US" sz="4000" b="0" dirty="0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</a:br>
            <a:r>
              <a:rPr lang="en-US" sz="4000" b="0" dirty="0" err="1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  <a:t>Despressurização</a:t>
            </a:r>
            <a:endParaRPr lang="en-US" sz="4000" b="0" dirty="0">
              <a:solidFill>
                <a:srgbClr val="65605B"/>
              </a:solidFill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  <p:sp>
        <p:nvSpPr>
          <p:cNvPr id="14" name="CaixaDeTexto 6">
            <a:extLst>
              <a:ext uri="{FF2B5EF4-FFF2-40B4-BE49-F238E27FC236}">
                <a16:creationId xmlns:a16="http://schemas.microsoft.com/office/drawing/2014/main" xmlns="" id="{2DFC9EA4-80A0-0F40-B8F7-255024CFB77F}"/>
              </a:ext>
            </a:extLst>
          </p:cNvPr>
          <p:cNvSpPr txBox="1"/>
          <p:nvPr/>
        </p:nvSpPr>
        <p:spPr>
          <a:xfrm>
            <a:off x="780870" y="4328399"/>
            <a:ext cx="1245192" cy="291658"/>
          </a:xfrm>
          <a:prstGeom prst="rect">
            <a:avLst/>
          </a:prstGeom>
          <a:noFill/>
        </p:spPr>
        <p:txBody>
          <a:bodyPr wrap="square" lIns="45738" tIns="22869" rIns="45738" bIns="22869" rtlCol="0">
            <a:spAutoFit/>
          </a:bodyPr>
          <a:lstStyle/>
          <a:p>
            <a:r>
              <a:rPr lang="pt-BR" sz="1600" dirty="0" smtClean="0">
                <a:solidFill>
                  <a:srgbClr val="65605B"/>
                </a:solidFill>
                <a:latin typeface="Trebuchet MS" panose="020B0703020202090204" pitchFamily="34" charset="0"/>
                <a:ea typeface="Lucida Sans" charset="0"/>
                <a:cs typeface="Lucida Sans" charset="0"/>
              </a:rPr>
              <a:t>07/12/2018</a:t>
            </a:r>
            <a:endParaRPr lang="pt-BR" sz="1600" dirty="0">
              <a:solidFill>
                <a:srgbClr val="65605B"/>
              </a:solidFill>
              <a:latin typeface="Trebuchet MS" panose="020B0703020202090204" pitchFamily="34" charset="0"/>
              <a:ea typeface="Lucida Sans" charset="0"/>
              <a:cs typeface="Lucida Sans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0B53A116-7753-314C-8C1B-5119E06F0C97}"/>
              </a:ext>
            </a:extLst>
          </p:cNvPr>
          <p:cNvSpPr txBox="1"/>
          <p:nvPr/>
        </p:nvSpPr>
        <p:spPr>
          <a:xfrm>
            <a:off x="928067" y="-822960"/>
            <a:ext cx="92426" cy="323006"/>
          </a:xfrm>
          <a:prstGeom prst="rect">
            <a:avLst/>
          </a:prstGeom>
          <a:noFill/>
        </p:spPr>
        <p:txBody>
          <a:bodyPr wrap="none" lIns="45738" tIns="22869" rIns="45738" bIns="22869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24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" y="2034569"/>
            <a:ext cx="7581900" cy="3680431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342900" y="1305580"/>
            <a:ext cx="8458200" cy="523220"/>
          </a:xfrm>
          <a:prstGeom prst="rect">
            <a:avLst/>
          </a:prstGeom>
        </p:spPr>
        <p:txBody>
          <a:bodyPr/>
          <a:lstStyle>
            <a:lvl1pPr algn="l" defTabSz="6096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Existem</a:t>
            </a:r>
            <a:r>
              <a:rPr lang="en-GB" sz="24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4 </a:t>
            </a:r>
            <a:r>
              <a:rPr lang="en-GB" sz="24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recomendações</a:t>
            </a:r>
            <a:r>
              <a:rPr lang="en-GB" sz="24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no FTD – 36-14001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800100" y="5006369"/>
            <a:ext cx="7581900" cy="7086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179021" y="28792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901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7678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Conector reto 23"/>
          <p:cNvCxnSpPr/>
          <p:nvPr>
            <p:custDataLst>
              <p:tags r:id="rId3"/>
            </p:custDataLst>
          </p:nvPr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/>
          <p:cNvPicPr/>
          <p:nvPr>
            <p:custDataLst>
              <p:tags r:id="rId4"/>
            </p:custDataLst>
          </p:nvPr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8"/>
          <a:stretch/>
        </p:blipFill>
        <p:spPr bwMode="auto">
          <a:xfrm>
            <a:off x="1657350" y="14785"/>
            <a:ext cx="5829300" cy="6828430"/>
          </a:xfrm>
          <a:prstGeom prst="rect">
            <a:avLst/>
          </a:prstGeom>
          <a:ln w="9525" cap="flat" cmpd="sng" algn="ctr">
            <a:solidFill>
              <a:srgbClr val="F79646"/>
            </a:solidFill>
            <a:prstDash val="solid"/>
            <a:round/>
            <a:headEnd type="none" w="med" len="med"/>
            <a:tailEnd type="none" w="med" len="med"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14" name="Tabela 13"/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84618246"/>
              </p:ext>
            </p:extLst>
          </p:nvPr>
        </p:nvGraphicFramePr>
        <p:xfrm>
          <a:off x="247649" y="1921084"/>
          <a:ext cx="8496301" cy="35367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61249"/>
                <a:gridCol w="1024348"/>
                <a:gridCol w="1024348"/>
                <a:gridCol w="1006792"/>
                <a:gridCol w="896304"/>
                <a:gridCol w="1024348"/>
                <a:gridCol w="1358912"/>
              </a:tblGrid>
              <a:tr h="10314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 dirty="0">
                          <a:effectLst/>
                        </a:rPr>
                        <a:t>FLT PHASE</a:t>
                      </a:r>
                      <a:endParaRPr lang="en-US" sz="2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FLT LEVEL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ENG#1 N1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ENG#2 N1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DUCT LH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DUCT RH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Ref.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7293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CLIMB 3min before TOC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350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100.4%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100.4%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40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40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42 (+/- 8)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7293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CRUISE 3 min after TOC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400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87.3%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87.3%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34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 dirty="0">
                          <a:effectLst/>
                        </a:rPr>
                        <a:t>34</a:t>
                      </a:r>
                      <a:endParaRPr lang="en-US" sz="2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42 (+/- 8)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7293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CRUISE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400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88.2%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88.2%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34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34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42 </a:t>
                      </a:r>
                      <a:r>
                        <a:rPr lang="pt-BR" sz="1400" b="1" baseline="30000">
                          <a:effectLst/>
                        </a:rPr>
                        <a:t>(+/-8) </a:t>
                      </a:r>
                      <a:r>
                        <a:rPr lang="pt-BR" sz="1400" b="1">
                          <a:effectLst/>
                        </a:rPr>
                        <a:t>/32 </a:t>
                      </a:r>
                      <a:r>
                        <a:rPr lang="pt-BR" sz="1400" b="1" baseline="30000">
                          <a:effectLst/>
                        </a:rPr>
                        <a:t>(+/-6)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8641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DESCENT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200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33.3%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34.1%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21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effectLst/>
                        </a:rPr>
                        <a:t>22</a:t>
                      </a:r>
                      <a:endParaRPr lang="en-US" sz="24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pt-BR" sz="1400" b="1" dirty="0">
                          <a:effectLst/>
                        </a:rPr>
                        <a:t>18</a:t>
                      </a:r>
                      <a:endParaRPr lang="en-US" sz="2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5" name="Retângulo 14"/>
          <p:cNvSpPr/>
          <p:nvPr>
            <p:custDataLst>
              <p:tags r:id="rId6"/>
            </p:custDataLst>
          </p:nvPr>
        </p:nvSpPr>
        <p:spPr>
          <a:xfrm>
            <a:off x="3733800" y="875731"/>
            <a:ext cx="1524000" cy="4572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tângulo 15"/>
          <p:cNvSpPr/>
          <p:nvPr>
            <p:custDataLst>
              <p:tags r:id="rId7"/>
            </p:custDataLst>
          </p:nvPr>
        </p:nvSpPr>
        <p:spPr>
          <a:xfrm>
            <a:off x="5638800" y="3689446"/>
            <a:ext cx="533400" cy="4572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tângulo 16"/>
          <p:cNvSpPr/>
          <p:nvPr>
            <p:custDataLst>
              <p:tags r:id="rId8"/>
            </p:custDataLst>
          </p:nvPr>
        </p:nvSpPr>
        <p:spPr>
          <a:xfrm>
            <a:off x="6629400" y="3691721"/>
            <a:ext cx="533400" cy="4572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tângulo 17"/>
          <p:cNvSpPr/>
          <p:nvPr>
            <p:custDataLst>
              <p:tags r:id="rId9"/>
            </p:custDataLst>
          </p:nvPr>
        </p:nvSpPr>
        <p:spPr>
          <a:xfrm>
            <a:off x="7648433" y="3699683"/>
            <a:ext cx="838200" cy="4572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eta em curva para baixo 18"/>
          <p:cNvSpPr/>
          <p:nvPr>
            <p:custDataLst>
              <p:tags r:id="rId10"/>
            </p:custDataLst>
          </p:nvPr>
        </p:nvSpPr>
        <p:spPr>
          <a:xfrm>
            <a:off x="4991100" y="479946"/>
            <a:ext cx="1295400" cy="342331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CaixaDeTexto 19"/>
          <p:cNvSpPr txBox="1"/>
          <p:nvPr>
            <p:custDataLst>
              <p:tags r:id="rId11"/>
            </p:custDataLst>
          </p:nvPr>
        </p:nvSpPr>
        <p:spPr>
          <a:xfrm>
            <a:off x="5362717" y="833650"/>
            <a:ext cx="2123933" cy="64633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9 </a:t>
            </a:r>
            <a:r>
              <a:rPr lang="pt-BR" dirty="0" err="1" smtClean="0"/>
              <a:t>days</a:t>
            </a:r>
            <a:r>
              <a:rPr lang="pt-BR" dirty="0" smtClean="0"/>
              <a:t> </a:t>
            </a:r>
            <a:r>
              <a:rPr lang="pt-BR" dirty="0" err="1" smtClean="0"/>
              <a:t>before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event</a:t>
            </a:r>
            <a:endParaRPr lang="en-US" dirty="0"/>
          </a:p>
        </p:txBody>
      </p:sp>
      <p:sp>
        <p:nvSpPr>
          <p:cNvPr id="21" name="Seta em curva para cima 20"/>
          <p:cNvSpPr/>
          <p:nvPr>
            <p:custDataLst>
              <p:tags r:id="rId12"/>
            </p:custDataLst>
          </p:nvPr>
        </p:nvSpPr>
        <p:spPr>
          <a:xfrm>
            <a:off x="6286500" y="4343400"/>
            <a:ext cx="1981200" cy="533400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CaixaDeTexto 21"/>
          <p:cNvSpPr txBox="1"/>
          <p:nvPr>
            <p:custDataLst>
              <p:tags r:id="rId13"/>
            </p:custDataLst>
          </p:nvPr>
        </p:nvSpPr>
        <p:spPr>
          <a:xfrm>
            <a:off x="6172200" y="5105400"/>
            <a:ext cx="266700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INFERIOR PRESSURE LIMIT</a:t>
            </a:r>
            <a:endParaRPr lang="en-US" dirty="0"/>
          </a:p>
        </p:txBody>
      </p:sp>
      <p:sp>
        <p:nvSpPr>
          <p:cNvPr id="2" name="Retângulo 1"/>
          <p:cNvSpPr/>
          <p:nvPr>
            <p:custDataLst>
              <p:tags r:id="rId14"/>
            </p:custDataLst>
          </p:nvPr>
        </p:nvSpPr>
        <p:spPr>
          <a:xfrm>
            <a:off x="4267200" y="1332931"/>
            <a:ext cx="723900" cy="36175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10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179021" y="28792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099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1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1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16" grpId="0" animBg="1"/>
      <p:bldP spid="17" grpId="0" animBg="1"/>
      <p:bldP spid="18" grpId="0" animBg="1"/>
      <p:bldP spid="19" grpId="0" animBg="1"/>
      <p:bldP spid="19" grpId="1" animBg="1"/>
      <p:bldP spid="20" grpId="0" animBg="1"/>
      <p:bldP spid="20" grpId="1" animBg="1"/>
      <p:bldP spid="21" grpId="0" animBg="1"/>
      <p:bldP spid="22" grpId="0" animBg="1"/>
      <p:bldP spid="2" grpId="0" animBg="1"/>
      <p:bldP spid="2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57200" y="1412875"/>
            <a:ext cx="8458200" cy="701675"/>
          </a:xfrm>
          <a:prstGeom prst="rect">
            <a:avLst/>
          </a:prstGeom>
        </p:spPr>
        <p:txBody>
          <a:bodyPr/>
          <a:lstStyle>
            <a:lvl1pPr algn="l" defTabSz="6096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meaças</a:t>
            </a:r>
            <a:r>
              <a:rPr lang="en-GB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: </a:t>
            </a: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179021" y="28792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cxnSp>
        <p:nvCxnSpPr>
          <p:cNvPr id="8" name="Conector reto 7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/>
          <p:cNvSpPr txBox="1"/>
          <p:nvPr/>
        </p:nvSpPr>
        <p:spPr>
          <a:xfrm>
            <a:off x="392018" y="2306270"/>
            <a:ext cx="1068245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rgbClr val="FF5A00"/>
              </a:buClr>
              <a:buFont typeface="Wingdings"/>
              <a:buChar char="Q"/>
            </a:pP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Baixa confiabilidade das PCCV versão -</a:t>
            </a:r>
            <a:r>
              <a:rPr lang="pt-BR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7</a:t>
            </a:r>
          </a:p>
          <a:p>
            <a:pPr marL="457200" indent="-457200" algn="just">
              <a:lnSpc>
                <a:spcPct val="150000"/>
              </a:lnSpc>
              <a:buClr>
                <a:srgbClr val="FF5A00"/>
              </a:buClr>
              <a:buFont typeface="Wingdings"/>
              <a:buChar char="Q"/>
            </a:pP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eríodo de tempo extenso entre a realização das pesquisas de pressão de duto – 15 dias</a:t>
            </a:r>
          </a:p>
          <a:p>
            <a:pPr marL="457200" indent="-457200" algn="just">
              <a:lnSpc>
                <a:spcPct val="150000"/>
              </a:lnSpc>
              <a:buClr>
                <a:srgbClr val="FF5A00"/>
              </a:buClr>
              <a:buFont typeface="Wingdings"/>
              <a:buChar char="Q"/>
            </a:pP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Baixa aderência dos pilotos</a:t>
            </a:r>
          </a:p>
          <a:p>
            <a:pPr marL="457200" indent="-457200" algn="just">
              <a:buClr>
                <a:srgbClr val="FF5A00"/>
              </a:buClr>
              <a:buFont typeface="Wingdings"/>
              <a:buChar char="Q"/>
            </a:pPr>
            <a:endParaRPr lang="pt-BR" sz="2400" dirty="0">
              <a:latin typeface="Lucida Sans" panose="020B0602030504020204" pitchFamily="34" charset="0"/>
              <a:cs typeface="Lucida Sans" panose="020B0602030504020204" pitchFamily="34" charset="0"/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3238355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57200" y="1335601"/>
            <a:ext cx="8458200" cy="7016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defTabSz="609660">
              <a:lnSpc>
                <a:spcPct val="90000"/>
              </a:lnSpc>
              <a:spcBef>
                <a:spcPct val="0"/>
              </a:spcBef>
              <a:buNone/>
              <a:defRPr sz="2800">
                <a:solidFill>
                  <a:srgbClr val="FF5A00"/>
                </a:solidFill>
                <a:latin typeface="Lucida Sans" panose="020B0602030504020204" pitchFamily="34" charset="0"/>
                <a:ea typeface="+mj-ea"/>
                <a:cs typeface="Lucida Sans" panose="020B0602030504020204" pitchFamily="34" charset="0"/>
              </a:defRPr>
            </a:lvl1pPr>
          </a:lstStyle>
          <a:p>
            <a:r>
              <a:rPr lang="en-GB" dirty="0" err="1"/>
              <a:t>Estados</a:t>
            </a:r>
            <a:r>
              <a:rPr lang="en-GB" dirty="0"/>
              <a:t> </a:t>
            </a:r>
            <a:r>
              <a:rPr lang="en-GB" dirty="0" err="1"/>
              <a:t>indesejados</a:t>
            </a:r>
            <a:endParaRPr lang="en-GB" dirty="0"/>
          </a:p>
        </p:txBody>
      </p:sp>
      <p:grpSp>
        <p:nvGrpSpPr>
          <p:cNvPr id="6" name="Grupo 5"/>
          <p:cNvGrpSpPr/>
          <p:nvPr/>
        </p:nvGrpSpPr>
        <p:grpSpPr>
          <a:xfrm>
            <a:off x="1181100" y="2971800"/>
            <a:ext cx="6781800" cy="2895600"/>
            <a:chOff x="1181100" y="2971800"/>
            <a:chExt cx="6781800" cy="2895600"/>
          </a:xfrm>
        </p:grpSpPr>
        <p:pic>
          <p:nvPicPr>
            <p:cNvPr id="8" name="Imagem 7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1100" y="2971800"/>
              <a:ext cx="6781800" cy="2895600"/>
            </a:xfrm>
            <a:prstGeom prst="rect">
              <a:avLst/>
            </a:prstGeom>
          </p:spPr>
        </p:pic>
        <p:sp>
          <p:nvSpPr>
            <p:cNvPr id="9" name="Elipse 8"/>
            <p:cNvSpPr/>
            <p:nvPr/>
          </p:nvSpPr>
          <p:spPr>
            <a:xfrm>
              <a:off x="7137778" y="4953000"/>
              <a:ext cx="634621" cy="30480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</p:grpSp>
      <p:sp>
        <p:nvSpPr>
          <p:cNvPr id="10" name="Text Placeholder 10"/>
          <p:cNvSpPr txBox="1">
            <a:spLocks/>
          </p:cNvSpPr>
          <p:nvPr/>
        </p:nvSpPr>
        <p:spPr>
          <a:xfrm>
            <a:off x="179021" y="28792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cxnSp>
        <p:nvCxnSpPr>
          <p:cNvPr id="11" name="Conector reto 10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392018" y="2022932"/>
            <a:ext cx="10682452" cy="576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rgbClr val="FF5A00"/>
              </a:buClr>
              <a:buFont typeface="Wingdings"/>
              <a:buChar char="Q"/>
            </a:pP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Baixo fluxo de ar para a cabine </a:t>
            </a:r>
          </a:p>
        </p:txBody>
      </p:sp>
    </p:spTree>
    <p:extLst>
      <p:ext uri="{BB962C8B-B14F-4D97-AF65-F5344CB8AC3E}">
        <p14:creationId xmlns:p14="http://schemas.microsoft.com/office/powerpoint/2010/main" val="3238355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2051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Conector reto 22"/>
          <p:cNvCxnSpPr/>
          <p:nvPr>
            <p:custDataLst>
              <p:tags r:id="rId3"/>
            </p:custDataLst>
          </p:nvPr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ítulo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20974" y="1409026"/>
            <a:ext cx="8458200" cy="7016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defTabSz="609660">
              <a:lnSpc>
                <a:spcPct val="90000"/>
              </a:lnSpc>
              <a:spcBef>
                <a:spcPct val="0"/>
              </a:spcBef>
              <a:buNone/>
              <a:defRPr sz="2800">
                <a:solidFill>
                  <a:srgbClr val="FF5A00"/>
                </a:solidFill>
                <a:latin typeface="Lucida Sans" panose="020B0602030504020204" pitchFamily="34" charset="0"/>
                <a:ea typeface="+mj-ea"/>
                <a:cs typeface="Lucida Sans" panose="020B0602030504020204" pitchFamily="34" charset="0"/>
              </a:defRPr>
            </a:lvl1pPr>
          </a:lstStyle>
          <a:p>
            <a:r>
              <a:rPr lang="en-US" dirty="0" err="1"/>
              <a:t>Barreiras</a:t>
            </a:r>
            <a:r>
              <a:rPr lang="en-US" dirty="0"/>
              <a:t> de </a:t>
            </a:r>
            <a:r>
              <a:rPr lang="en-US" dirty="0" err="1"/>
              <a:t>Recuperação</a:t>
            </a:r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>
            <p:custDataLst>
              <p:tags r:id="rId5"/>
            </p:custDataLst>
          </p:nvPr>
        </p:nvSpPr>
        <p:spPr>
          <a:xfrm>
            <a:off x="306674" y="2434551"/>
            <a:ext cx="716702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457200" indent="-457200" algn="just">
              <a:lnSpc>
                <a:spcPct val="150000"/>
              </a:lnSpc>
              <a:buClr>
                <a:srgbClr val="FF5A00"/>
              </a:buClr>
              <a:buFont typeface="Wingdings"/>
              <a:buChar char="Q"/>
              <a:defRPr sz="2400">
                <a:latin typeface="Lucida Sans" panose="020B0602030504020204" pitchFamily="34" charset="0"/>
                <a:cs typeface="Lucida Sans" panose="020B0602030504020204" pitchFamily="34" charset="0"/>
              </a:defRPr>
            </a:lvl1pPr>
          </a:lstStyle>
          <a:p>
            <a:r>
              <a:rPr lang="en-GB" dirty="0"/>
              <a:t>Trip Reset;</a:t>
            </a:r>
          </a:p>
          <a:p>
            <a:r>
              <a:rPr lang="en-GB" dirty="0" err="1"/>
              <a:t>Tentativa</a:t>
            </a:r>
            <a:r>
              <a:rPr lang="en-GB" dirty="0"/>
              <a:t> de </a:t>
            </a:r>
            <a:r>
              <a:rPr lang="en-GB" dirty="0" err="1"/>
              <a:t>controlar</a:t>
            </a:r>
            <a:r>
              <a:rPr lang="en-GB" dirty="0"/>
              <a:t> a </a:t>
            </a:r>
            <a:r>
              <a:rPr lang="en-GB" dirty="0" err="1"/>
              <a:t>pressão</a:t>
            </a:r>
            <a:r>
              <a:rPr lang="en-GB" dirty="0"/>
              <a:t> de </a:t>
            </a:r>
            <a:r>
              <a:rPr lang="en-GB" dirty="0" err="1"/>
              <a:t>cabine</a:t>
            </a:r>
            <a:r>
              <a:rPr lang="en-GB" dirty="0"/>
              <a:t> </a:t>
            </a:r>
            <a:r>
              <a:rPr lang="en-GB" dirty="0" err="1"/>
              <a:t>pelos</a:t>
            </a:r>
            <a:r>
              <a:rPr lang="en-GB" dirty="0"/>
              <a:t> </a:t>
            </a:r>
            <a:r>
              <a:rPr lang="en-GB" dirty="0" err="1"/>
              <a:t>modos</a:t>
            </a:r>
            <a:r>
              <a:rPr lang="en-GB" dirty="0"/>
              <a:t> </a:t>
            </a:r>
            <a:r>
              <a:rPr lang="en-GB" dirty="0" err="1"/>
              <a:t>alternado</a:t>
            </a:r>
            <a:r>
              <a:rPr lang="en-GB" dirty="0"/>
              <a:t> e manual;</a:t>
            </a:r>
          </a:p>
          <a:p>
            <a:r>
              <a:rPr lang="en-GB" dirty="0" err="1"/>
              <a:t>Descida</a:t>
            </a:r>
            <a:r>
              <a:rPr lang="en-GB" dirty="0"/>
              <a:t> </a:t>
            </a:r>
            <a:r>
              <a:rPr lang="en-GB" dirty="0" err="1"/>
              <a:t>rápida</a:t>
            </a:r>
            <a:r>
              <a:rPr lang="en-GB" dirty="0"/>
              <a:t>.</a:t>
            </a:r>
          </a:p>
          <a:p>
            <a:endParaRPr lang="en-GB" dirty="0"/>
          </a:p>
        </p:txBody>
      </p:sp>
      <p:pic>
        <p:nvPicPr>
          <p:cNvPr id="16" name="Picture 3" descr="H:\GERÊNCIA DE SAFETY\COMUM\IMAGENS E PADRÕES\Gol_aviao_1B_00_Cliente-Final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" t="16427" r="10834" b="13082"/>
          <a:stretch/>
        </p:blipFill>
        <p:spPr bwMode="auto">
          <a:xfrm rot="1932267">
            <a:off x="4452680" y="1365016"/>
            <a:ext cx="8001000" cy="235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upo 16"/>
          <p:cNvGrpSpPr/>
          <p:nvPr>
            <p:custDataLst>
              <p:tags r:id="rId7"/>
            </p:custDataLst>
          </p:nvPr>
        </p:nvGrpSpPr>
        <p:grpSpPr>
          <a:xfrm>
            <a:off x="7982874" y="1122890"/>
            <a:ext cx="3895725" cy="5191125"/>
            <a:chOff x="2624138" y="833438"/>
            <a:chExt cx="3895725" cy="5191125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4138" y="833438"/>
              <a:ext cx="3895725" cy="5191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9" name="Grupo 18"/>
            <p:cNvGrpSpPr/>
            <p:nvPr/>
          </p:nvGrpSpPr>
          <p:grpSpPr>
            <a:xfrm>
              <a:off x="4495799" y="4902252"/>
              <a:ext cx="1962624" cy="979203"/>
              <a:chOff x="4572001" y="4828955"/>
              <a:chExt cx="1962624" cy="979203"/>
            </a:xfrm>
          </p:grpSpPr>
          <p:sp>
            <p:nvSpPr>
              <p:cNvPr id="20" name="Seta para a direita 19"/>
              <p:cNvSpPr/>
              <p:nvPr/>
            </p:nvSpPr>
            <p:spPr>
              <a:xfrm rot="16200000">
                <a:off x="4247357" y="5153599"/>
                <a:ext cx="954087" cy="304800"/>
              </a:xfrm>
              <a:prstGeom prst="right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CaixaDeTexto 20"/>
              <p:cNvSpPr txBox="1"/>
              <p:nvPr/>
            </p:nvSpPr>
            <p:spPr>
              <a:xfrm>
                <a:off x="4822348" y="5438826"/>
                <a:ext cx="171227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b="1" dirty="0" smtClean="0"/>
                  <a:t>TRIP RESET</a:t>
                </a:r>
                <a:endParaRPr lang="en-US" b="1" dirty="0"/>
              </a:p>
            </p:txBody>
          </p:sp>
        </p:grpSp>
      </p:grpSp>
      <p:grpSp>
        <p:nvGrpSpPr>
          <p:cNvPr id="8" name="Grupo 7"/>
          <p:cNvGrpSpPr/>
          <p:nvPr>
            <p:custDataLst>
              <p:tags r:id="rId8"/>
            </p:custDataLst>
          </p:nvPr>
        </p:nvGrpSpPr>
        <p:grpSpPr>
          <a:xfrm>
            <a:off x="7606893" y="3699747"/>
            <a:ext cx="3134443" cy="2614268"/>
            <a:chOff x="886076" y="2990850"/>
            <a:chExt cx="3561848" cy="3000374"/>
          </a:xfrm>
        </p:grpSpPr>
        <p:grpSp>
          <p:nvGrpSpPr>
            <p:cNvPr id="9" name="Grupo 8"/>
            <p:cNvGrpSpPr/>
            <p:nvPr/>
          </p:nvGrpSpPr>
          <p:grpSpPr>
            <a:xfrm>
              <a:off x="886076" y="2990850"/>
              <a:ext cx="3561848" cy="3000374"/>
              <a:chOff x="685800" y="3009900"/>
              <a:chExt cx="3561848" cy="3000374"/>
            </a:xfrm>
          </p:grpSpPr>
          <p:grpSp>
            <p:nvGrpSpPr>
              <p:cNvPr id="11" name="Grupo 10"/>
              <p:cNvGrpSpPr/>
              <p:nvPr/>
            </p:nvGrpSpPr>
            <p:grpSpPr>
              <a:xfrm>
                <a:off x="685800" y="3009900"/>
                <a:ext cx="3561848" cy="3000374"/>
                <a:chOff x="685800" y="3009900"/>
                <a:chExt cx="3561848" cy="3000374"/>
              </a:xfrm>
            </p:grpSpPr>
            <p:pic>
              <p:nvPicPr>
                <p:cNvPr id="14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031" t="3464" r="2331" b="17552"/>
                <a:stretch/>
              </p:blipFill>
              <p:spPr bwMode="auto">
                <a:xfrm>
                  <a:off x="685800" y="3009900"/>
                  <a:ext cx="3561848" cy="3000374"/>
                </a:xfrm>
                <a:prstGeom prst="roundRect">
                  <a:avLst>
                    <a:gd name="adj" fmla="val 16667"/>
                  </a:avLst>
                </a:prstGeom>
                <a:ln>
                  <a:noFill/>
                </a:ln>
                <a:effectLst>
                  <a:outerShdw blurRad="76200" dist="38100" dir="7800000" algn="tl" rotWithShape="0">
                    <a:srgbClr val="000000">
                      <a:alpha val="40000"/>
                    </a:srgbClr>
                  </a:outerShdw>
                </a:effectLst>
                <a:scene3d>
                  <a:camera prst="orthographicFront"/>
                  <a:lightRig rig="contrasting" dir="t">
                    <a:rot lat="0" lon="0" rev="4200000"/>
                  </a:lightRig>
                </a:scene3d>
                <a:sp3d prstMaterial="plastic">
                  <a:bevelT w="381000" h="114300" prst="coolSlant"/>
                  <a:contourClr>
                    <a:srgbClr val="969696"/>
                  </a:contourClr>
                </a:sp3d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5" name="Retângulo 14"/>
                <p:cNvSpPr/>
                <p:nvPr/>
              </p:nvSpPr>
              <p:spPr>
                <a:xfrm>
                  <a:off x="1371600" y="3400425"/>
                  <a:ext cx="914400" cy="228600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solidFill>
                    <a:schemeClr val="tx1">
                      <a:lumMod val="75000"/>
                      <a:lumOff val="25000"/>
                    </a:schemeClr>
                  </a:solidFill>
                </a:ln>
                <a:scene3d>
                  <a:camera prst="orthographicFront"/>
                  <a:lightRig rig="threePt" dir="t"/>
                </a:scene3d>
                <a:sp3d>
                  <a:bevelT w="165100" prst="coolSlant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3" name="Retângulo 12"/>
              <p:cNvSpPr/>
              <p:nvPr/>
            </p:nvSpPr>
            <p:spPr>
              <a:xfrm>
                <a:off x="2667000" y="4876800"/>
                <a:ext cx="1219200" cy="104775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Retângulo 9"/>
            <p:cNvSpPr/>
            <p:nvPr/>
          </p:nvSpPr>
          <p:spPr>
            <a:xfrm>
              <a:off x="1571876" y="4629150"/>
              <a:ext cx="914400" cy="2286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ext Placeholder 10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79021" y="28792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355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2" dur="indefinite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3" dur="indefinite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0" dur="indefinite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1" dur="indefinite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xit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0" dur="2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2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57200" y="1412875"/>
            <a:ext cx="8458200" cy="701675"/>
          </a:xfrm>
          <a:prstGeom prst="rect">
            <a:avLst/>
          </a:prstGeom>
        </p:spPr>
        <p:txBody>
          <a:bodyPr/>
          <a:lstStyle>
            <a:lvl1pPr algn="l" defTabSz="6096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Risco</a:t>
            </a:r>
            <a:r>
              <a:rPr lang="en-GB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</a:t>
            </a:r>
            <a:r>
              <a:rPr lang="en-GB" sz="28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ssociado</a:t>
            </a:r>
            <a:endParaRPr lang="en-GB" sz="2800" dirty="0" smtClean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85800" y="2133600"/>
            <a:ext cx="8458200" cy="576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457200" indent="-457200" algn="just">
              <a:lnSpc>
                <a:spcPct val="150000"/>
              </a:lnSpc>
              <a:buClr>
                <a:srgbClr val="FF5A00"/>
              </a:buClr>
              <a:buFont typeface="Wingdings"/>
              <a:buChar char="Q"/>
              <a:defRPr sz="2400">
                <a:latin typeface="Lucida Sans" panose="020B0602030504020204" pitchFamily="34" charset="0"/>
                <a:cs typeface="Lucida Sans" panose="020B0602030504020204" pitchFamily="34" charset="0"/>
              </a:defRPr>
            </a:lvl1pPr>
          </a:lstStyle>
          <a:p>
            <a:r>
              <a:rPr lang="en-US" dirty="0" err="1"/>
              <a:t>Despressurização</a:t>
            </a:r>
            <a:endParaRPr lang="en-GB" dirty="0"/>
          </a:p>
        </p:txBody>
      </p:sp>
      <p:pic>
        <p:nvPicPr>
          <p:cNvPr id="6" name="Picture 4" descr="Resultado de imagem para cartoon plane oxy mas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2819400"/>
            <a:ext cx="5334000" cy="30480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8" name="Text Placeholder 10"/>
          <p:cNvSpPr txBox="1">
            <a:spLocks/>
          </p:cNvSpPr>
          <p:nvPr/>
        </p:nvSpPr>
        <p:spPr>
          <a:xfrm>
            <a:off x="179021" y="28792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8355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 txBox="1">
            <a:spLocks/>
          </p:cNvSpPr>
          <p:nvPr/>
        </p:nvSpPr>
        <p:spPr>
          <a:xfrm>
            <a:off x="179021" y="15913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3. Melhorias de Segurança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304800" y="2209800"/>
            <a:ext cx="8610600" cy="3811588"/>
          </a:xfrm>
          <a:prstGeom prst="rect">
            <a:avLst/>
          </a:prstGeom>
        </p:spPr>
        <p:txBody>
          <a:bodyPr/>
          <a:lstStyle>
            <a:lvl1pPr marL="152416" indent="-152416" algn="l" defTabSz="60966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7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907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3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56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39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22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1060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sz="2000" smtClean="0"/>
          </a:p>
          <a:p>
            <a:endParaRPr lang="en-GB" sz="2400" dirty="0" smtClean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366152" y="1053917"/>
            <a:ext cx="11031652" cy="5663089"/>
          </a:xfrm>
          <a:prstGeom prst="rect">
            <a:avLst/>
          </a:prstGeom>
          <a:noFill/>
          <a:extLst/>
        </p:spPr>
        <p:txBody>
          <a:bodyPr wrap="square" rtlCol="0">
            <a:spAutoFit/>
          </a:bodyPr>
          <a:lstStyle>
            <a:defPPr>
              <a:defRPr lang="en-US"/>
            </a:defPPr>
            <a:lvl1pPr marL="457200" indent="-457200" algn="just">
              <a:lnSpc>
                <a:spcPct val="150000"/>
              </a:lnSpc>
              <a:buClr>
                <a:srgbClr val="FF5A00"/>
              </a:buClr>
              <a:buFont typeface="Wingdings"/>
              <a:buChar char="Q"/>
              <a:defRPr sz="2400">
                <a:latin typeface="Lucida Sans" panose="020B0602030504020204" pitchFamily="34" charset="0"/>
                <a:cs typeface="Lucida Sans" panose="020B0602030504020204" pitchFamily="34" charset="0"/>
              </a:defRPr>
            </a:lvl1pPr>
          </a:lstStyle>
          <a:p>
            <a:r>
              <a:rPr lang="en-GB" sz="2000" dirty="0" err="1"/>
              <a:t>Compilação</a:t>
            </a:r>
            <a:r>
              <a:rPr lang="en-GB" sz="2000" dirty="0"/>
              <a:t> da </a:t>
            </a:r>
            <a:r>
              <a:rPr lang="en-GB" sz="2000" dirty="0" err="1"/>
              <a:t>pesquisa</a:t>
            </a:r>
            <a:r>
              <a:rPr lang="en-GB" sz="2000" dirty="0"/>
              <a:t> de </a:t>
            </a:r>
            <a:r>
              <a:rPr lang="en-GB" sz="2000" dirty="0" err="1"/>
              <a:t>pressão</a:t>
            </a:r>
            <a:r>
              <a:rPr lang="en-GB" sz="2000" dirty="0"/>
              <a:t> de </a:t>
            </a:r>
            <a:r>
              <a:rPr lang="en-GB" sz="2000" dirty="0" err="1"/>
              <a:t>duto</a:t>
            </a:r>
            <a:r>
              <a:rPr lang="en-GB" sz="2000" dirty="0"/>
              <a:t> a </a:t>
            </a:r>
            <a:r>
              <a:rPr lang="en-GB" sz="2000" dirty="0" err="1"/>
              <a:t>cada</a:t>
            </a:r>
            <a:r>
              <a:rPr lang="en-GB" sz="2000" dirty="0"/>
              <a:t> </a:t>
            </a:r>
            <a:r>
              <a:rPr lang="en-GB" sz="2000" dirty="0" err="1"/>
              <a:t>quinze</a:t>
            </a:r>
            <a:r>
              <a:rPr lang="en-GB" sz="2000" dirty="0"/>
              <a:t> </a:t>
            </a:r>
            <a:r>
              <a:rPr lang="en-GB" sz="2000" dirty="0" err="1"/>
              <a:t>dias</a:t>
            </a:r>
            <a:r>
              <a:rPr lang="en-GB" sz="2000" dirty="0"/>
              <a:t> </a:t>
            </a:r>
            <a:r>
              <a:rPr lang="en-GB" sz="2000" dirty="0" err="1"/>
              <a:t>foi</a:t>
            </a:r>
            <a:r>
              <a:rPr lang="en-GB" sz="2000" dirty="0"/>
              <a:t> </a:t>
            </a:r>
            <a:r>
              <a:rPr lang="en-GB" sz="2000" dirty="0" err="1"/>
              <a:t>insuficiente</a:t>
            </a:r>
            <a:r>
              <a:rPr lang="en-GB" sz="2000" dirty="0"/>
              <a:t> para </a:t>
            </a:r>
            <a:r>
              <a:rPr lang="en-GB" sz="2000" dirty="0" err="1"/>
              <a:t>prever</a:t>
            </a:r>
            <a:r>
              <a:rPr lang="en-GB" sz="2000" dirty="0"/>
              <a:t> a </a:t>
            </a:r>
            <a:r>
              <a:rPr lang="en-GB" sz="2000" dirty="0" err="1"/>
              <a:t>falha</a:t>
            </a:r>
            <a:r>
              <a:rPr lang="en-GB" sz="2000" dirty="0"/>
              <a:t> do </a:t>
            </a:r>
            <a:r>
              <a:rPr lang="en-GB" sz="2000" dirty="0" err="1"/>
              <a:t>componente</a:t>
            </a:r>
            <a:r>
              <a:rPr lang="en-GB" sz="2000" dirty="0"/>
              <a:t>. </a:t>
            </a:r>
            <a:r>
              <a:rPr lang="en-GB" sz="2000" dirty="0" err="1"/>
              <a:t>Período</a:t>
            </a:r>
            <a:r>
              <a:rPr lang="en-GB" sz="2000" dirty="0"/>
              <a:t> </a:t>
            </a:r>
            <a:r>
              <a:rPr lang="en-GB" sz="2000" dirty="0" err="1"/>
              <a:t>reduzido</a:t>
            </a:r>
            <a:r>
              <a:rPr lang="en-GB" sz="2000" dirty="0"/>
              <a:t> para 4 </a:t>
            </a:r>
            <a:r>
              <a:rPr lang="en-GB" sz="2000" dirty="0" err="1"/>
              <a:t>dias</a:t>
            </a:r>
            <a:r>
              <a:rPr lang="en-GB" sz="2000" dirty="0"/>
              <a:t>; </a:t>
            </a:r>
          </a:p>
          <a:p>
            <a:endParaRPr lang="en-GB" sz="2000" dirty="0"/>
          </a:p>
          <a:p>
            <a:r>
              <a:rPr lang="en-GB" sz="2000" dirty="0"/>
              <a:t>Novo </a:t>
            </a:r>
            <a:r>
              <a:rPr lang="en-GB" sz="2000" dirty="0" err="1"/>
              <a:t>procedimento</a:t>
            </a:r>
            <a:r>
              <a:rPr lang="en-GB" sz="2000" dirty="0"/>
              <a:t> de </a:t>
            </a:r>
            <a:r>
              <a:rPr lang="en-GB" sz="2000" dirty="0" err="1"/>
              <a:t>manutenção</a:t>
            </a:r>
            <a:r>
              <a:rPr lang="en-GB" sz="2000" dirty="0"/>
              <a:t> para a </a:t>
            </a:r>
            <a:r>
              <a:rPr lang="en-GB" sz="2000" dirty="0" err="1"/>
              <a:t>monitoria</a:t>
            </a:r>
            <a:r>
              <a:rPr lang="en-GB" sz="2000" dirty="0"/>
              <a:t> da </a:t>
            </a:r>
            <a:r>
              <a:rPr lang="en-GB" sz="2000" dirty="0" err="1"/>
              <a:t>pressão</a:t>
            </a:r>
            <a:r>
              <a:rPr lang="en-GB" sz="2000" dirty="0"/>
              <a:t> de </a:t>
            </a:r>
            <a:r>
              <a:rPr lang="en-GB" sz="2000" dirty="0" err="1"/>
              <a:t>dutos</a:t>
            </a:r>
            <a:r>
              <a:rPr lang="en-GB" sz="2000" dirty="0"/>
              <a:t>;</a:t>
            </a:r>
          </a:p>
          <a:p>
            <a:endParaRPr lang="en-GB" sz="2000" dirty="0"/>
          </a:p>
          <a:p>
            <a:r>
              <a:rPr lang="en-GB" sz="2000" dirty="0" err="1"/>
              <a:t>Incorporação</a:t>
            </a:r>
            <a:r>
              <a:rPr lang="en-GB" sz="2000" dirty="0"/>
              <a:t> </a:t>
            </a:r>
            <a:r>
              <a:rPr lang="en-GB" sz="2000" dirty="0" err="1"/>
              <a:t>ao</a:t>
            </a:r>
            <a:r>
              <a:rPr lang="en-GB" sz="2000" dirty="0"/>
              <a:t> manual de Flight Standards um </a:t>
            </a:r>
            <a:r>
              <a:rPr lang="en-GB" sz="2000" dirty="0" err="1"/>
              <a:t>procedimento</a:t>
            </a:r>
            <a:r>
              <a:rPr lang="en-GB" sz="2000" dirty="0"/>
              <a:t> </a:t>
            </a:r>
            <a:r>
              <a:rPr lang="en-GB" sz="2000" dirty="0" err="1"/>
              <a:t>instruíndo</a:t>
            </a:r>
            <a:r>
              <a:rPr lang="en-GB" sz="2000" dirty="0"/>
              <a:t> </a:t>
            </a:r>
            <a:r>
              <a:rPr lang="en-GB" sz="2000" dirty="0" err="1"/>
              <a:t>os</a:t>
            </a:r>
            <a:r>
              <a:rPr lang="en-GB" sz="2000" dirty="0"/>
              <a:t> </a:t>
            </a:r>
            <a:r>
              <a:rPr lang="en-GB" sz="2000" dirty="0" err="1"/>
              <a:t>pilotos</a:t>
            </a:r>
            <a:r>
              <a:rPr lang="en-GB" sz="2000" dirty="0"/>
              <a:t> a </a:t>
            </a:r>
            <a:r>
              <a:rPr lang="en-GB" sz="2000" dirty="0" err="1"/>
              <a:t>preencher</a:t>
            </a:r>
            <a:r>
              <a:rPr lang="en-GB" sz="2000" dirty="0"/>
              <a:t> o </a:t>
            </a:r>
            <a:r>
              <a:rPr lang="en-GB" sz="2000" dirty="0" err="1"/>
              <a:t>formulário</a:t>
            </a:r>
            <a:r>
              <a:rPr lang="en-GB" sz="2000" dirty="0"/>
              <a:t> de </a:t>
            </a:r>
            <a:r>
              <a:rPr lang="en-GB" sz="2000" dirty="0" err="1"/>
              <a:t>pesquisa</a:t>
            </a:r>
            <a:r>
              <a:rPr lang="en-GB" sz="2000" dirty="0"/>
              <a:t> de </a:t>
            </a:r>
            <a:r>
              <a:rPr lang="en-GB" sz="2000" dirty="0" err="1"/>
              <a:t>pressão</a:t>
            </a:r>
            <a:r>
              <a:rPr lang="en-GB" sz="2000" dirty="0"/>
              <a:t> de </a:t>
            </a:r>
            <a:r>
              <a:rPr lang="en-GB" sz="2000" dirty="0" err="1"/>
              <a:t>duto</a:t>
            </a:r>
            <a:r>
              <a:rPr lang="en-GB" sz="2000" dirty="0"/>
              <a:t>;</a:t>
            </a:r>
          </a:p>
          <a:p>
            <a:endParaRPr lang="en-GB" sz="2000" dirty="0"/>
          </a:p>
          <a:p>
            <a:pPr marL="457200" lvl="1" indent="-457200" algn="just">
              <a:lnSpc>
                <a:spcPct val="150000"/>
              </a:lnSpc>
              <a:buClr>
                <a:srgbClr val="FF5A00"/>
              </a:buClr>
              <a:buFont typeface="Wingdings"/>
              <a:buChar char="Q"/>
            </a:pPr>
            <a:r>
              <a:rPr lang="en-US" sz="20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Solicitação</a:t>
            </a:r>
            <a:r>
              <a:rPr lang="en-US" sz="2000" dirty="0">
                <a:latin typeface="Lucida Sans" panose="020B0602030504020204" pitchFamily="34" charset="0"/>
                <a:cs typeface="Lucida Sans" panose="020B0602030504020204" pitchFamily="34" charset="0"/>
              </a:rPr>
              <a:t> da </a:t>
            </a:r>
            <a:r>
              <a:rPr lang="en-US" sz="20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aquisição</a:t>
            </a:r>
            <a:r>
              <a:rPr lang="en-US" sz="2000" dirty="0">
                <a:latin typeface="Lucida Sans" panose="020B0602030504020204" pitchFamily="34" charset="0"/>
                <a:cs typeface="Lucida Sans" panose="020B0602030504020204" pitchFamily="34" charset="0"/>
              </a:rPr>
              <a:t> do ACMS no </a:t>
            </a:r>
            <a:r>
              <a:rPr lang="en-US" sz="20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orçamento</a:t>
            </a:r>
            <a:r>
              <a:rPr lang="en-US" sz="2000" dirty="0">
                <a:latin typeface="Lucida Sans" panose="020B0602030504020204" pitchFamily="34" charset="0"/>
                <a:cs typeface="Lucida Sans" panose="020B0602030504020204" pitchFamily="34" charset="0"/>
              </a:rPr>
              <a:t> de 2017;</a:t>
            </a:r>
            <a:endParaRPr lang="en-GB" sz="2000" dirty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lvl="1"/>
            <a:r>
              <a:rPr lang="en-GB" sz="1600" dirty="0" err="1"/>
              <a:t>Custos</a:t>
            </a:r>
            <a:r>
              <a:rPr lang="en-GB" sz="1600" dirty="0"/>
              <a:t> </a:t>
            </a:r>
            <a:r>
              <a:rPr lang="en-GB" sz="1600" dirty="0" err="1"/>
              <a:t>totais</a:t>
            </a:r>
            <a:r>
              <a:rPr lang="en-GB" sz="1600" dirty="0"/>
              <a:t> </a:t>
            </a:r>
            <a:r>
              <a:rPr lang="en-GB" sz="1600" dirty="0" err="1"/>
              <a:t>diretos</a:t>
            </a:r>
            <a:r>
              <a:rPr lang="en-GB" sz="1600" dirty="0"/>
              <a:t> e </a:t>
            </a:r>
            <a:r>
              <a:rPr lang="en-GB" sz="1600" dirty="0" err="1"/>
              <a:t>indiretos</a:t>
            </a:r>
            <a:r>
              <a:rPr lang="en-GB" sz="1600" dirty="0"/>
              <a:t> de </a:t>
            </a:r>
            <a:r>
              <a:rPr lang="en-GB" sz="1600" dirty="0" err="1"/>
              <a:t>uma</a:t>
            </a:r>
            <a:r>
              <a:rPr lang="en-GB" sz="1600" dirty="0"/>
              <a:t> </a:t>
            </a:r>
            <a:r>
              <a:rPr lang="en-GB" sz="1600" dirty="0" err="1"/>
              <a:t>ocorrência</a:t>
            </a:r>
            <a:r>
              <a:rPr lang="en-GB" sz="1600" dirty="0"/>
              <a:t> – US$ 97,000.00</a:t>
            </a:r>
          </a:p>
          <a:p>
            <a:pPr lvl="1"/>
            <a:endParaRPr lang="en-GB" sz="1600" dirty="0"/>
          </a:p>
          <a:p>
            <a:r>
              <a:rPr lang="pt-BR" sz="2000" dirty="0"/>
              <a:t>Novo componente sendo desenvolvido pela fabricante.</a:t>
            </a:r>
            <a:endParaRPr lang="en-GB" sz="2000" dirty="0"/>
          </a:p>
          <a:p>
            <a:endParaRPr lang="en-GB" sz="2000" dirty="0"/>
          </a:p>
        </p:txBody>
      </p:sp>
      <p:cxnSp>
        <p:nvCxnSpPr>
          <p:cNvPr id="8" name="Conector reto 7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8355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57200" y="1271206"/>
            <a:ext cx="8458200" cy="1077218"/>
          </a:xfrm>
          <a:prstGeom prst="rect">
            <a:avLst/>
          </a:prstGeom>
        </p:spPr>
        <p:txBody>
          <a:bodyPr/>
          <a:lstStyle>
            <a:lvl1pPr algn="l" defTabSz="6096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prendizado</a:t>
            </a:r>
            <a:r>
              <a:rPr lang="en-GB" sz="2800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para o </a:t>
            </a:r>
            <a:r>
              <a:rPr lang="en-GB" sz="2800" b="1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grupo</a:t>
            </a:r>
            <a:r>
              <a:rPr lang="en-GB" sz="2800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de Segurança</a:t>
            </a:r>
            <a:br>
              <a:rPr lang="en-GB" sz="2800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</a:br>
            <a:endParaRPr lang="en-GB" sz="2000" b="1" dirty="0" smtClean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457200" y="2279560"/>
            <a:ext cx="11505126" cy="3674772"/>
          </a:xfrm>
          <a:prstGeom prst="rect">
            <a:avLst/>
          </a:prstGeom>
          <a:noFill/>
        </p:spPr>
        <p:txBody>
          <a:bodyPr/>
          <a:lstStyle>
            <a:lvl1pPr marL="152416" indent="-152416" algn="l" defTabSz="60966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7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907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3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56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39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22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1060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pt-BR" sz="20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pt-BR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A nova versão de um componente não é necessariamente melhor ou mais segura do que uma versão antiga;</a:t>
            </a:r>
          </a:p>
          <a:p>
            <a:pPr marL="0" indent="0">
              <a:buFont typeface="Arial"/>
              <a:buNone/>
            </a:pPr>
            <a:endParaRPr lang="pt-BR" sz="2000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marL="0" indent="0" algn="just">
              <a:buNone/>
            </a:pPr>
            <a:r>
              <a:rPr lang="pt-BR" sz="20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pt-BR" sz="2000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pt-BR" sz="20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pt-BR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O monitoramento efetivo não aumenta a confiabilidade do componente mas ajuda a reduzir a probabilidade de falha total;</a:t>
            </a:r>
            <a:endParaRPr lang="en-US" sz="2000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marL="0" indent="0" algn="just">
              <a:buNone/>
            </a:pPr>
            <a:endParaRPr lang="en-US" sz="2000" dirty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marL="0" indent="0" algn="just">
              <a:buNone/>
            </a:pPr>
            <a:r>
              <a:rPr lang="pt-BR" sz="20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pt-BR" sz="2000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pt-BR" sz="20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pt-BR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Uma tripulação bem treinada é uma recuperação de defesa muito efetiva.</a:t>
            </a:r>
          </a:p>
          <a:p>
            <a:pPr marL="0" indent="0" algn="just">
              <a:buNone/>
            </a:pPr>
            <a:endParaRPr lang="en-US" sz="2000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algn="just"/>
            <a:endParaRPr lang="en-US" sz="2000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endParaRPr lang="pt-BR" sz="2000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179021" y="15913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3. Melhorias de Segurança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8355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5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9692" y="2434874"/>
            <a:ext cx="1988255" cy="1988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5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640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Conector reto 14"/>
          <p:cNvCxnSpPr/>
          <p:nvPr>
            <p:custDataLst>
              <p:tags r:id="rId3"/>
            </p:custDataLst>
          </p:nvPr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684F3407-F4BA-1047-AC91-14BF8DE908C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96873" y="289495"/>
            <a:ext cx="4646475" cy="382340"/>
          </a:xfrm>
          <a:prstGeom prst="rect">
            <a:avLst/>
          </a:prstGeom>
        </p:spPr>
        <p:txBody>
          <a:bodyPr lIns="45738" tIns="22869" rIns="45738" bIns="22869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000" dirty="0" err="1">
                <a:solidFill>
                  <a:srgbClr val="FF5A00"/>
                </a:solidFill>
                <a:latin typeface="Trebuchet MS" panose="020B0703020202090204" pitchFamily="34" charset="0"/>
              </a:rPr>
              <a:t>Informações</a:t>
            </a:r>
            <a:r>
              <a:rPr lang="en-US" sz="3000" dirty="0">
                <a:solidFill>
                  <a:srgbClr val="FF5A00"/>
                </a:solidFill>
                <a:latin typeface="Trebuchet MS" panose="020B0703020202090204" pitchFamily="34" charset="0"/>
              </a:rPr>
              <a:t> </a:t>
            </a:r>
            <a:r>
              <a:rPr lang="en-US" sz="3000" dirty="0" err="1">
                <a:solidFill>
                  <a:srgbClr val="FF5A00"/>
                </a:solidFill>
                <a:latin typeface="Trebuchet MS" panose="020B0703020202090204" pitchFamily="34" charset="0"/>
              </a:rPr>
              <a:t>Factuais</a:t>
            </a:r>
            <a:endParaRPr lang="en-US" sz="3000" dirty="0">
              <a:solidFill>
                <a:srgbClr val="FF5A00"/>
              </a:solidFill>
              <a:latin typeface="Trebuchet MS" panose="020B0703020202090204" pitchFamily="34" charset="0"/>
            </a:endParaRPr>
          </a:p>
        </p:txBody>
      </p:sp>
      <p:sp>
        <p:nvSpPr>
          <p:cNvPr id="4" name="CaixaDeTexto 3"/>
          <p:cNvSpPr txBox="1"/>
          <p:nvPr>
            <p:custDataLst>
              <p:tags r:id="rId5"/>
            </p:custDataLst>
          </p:nvPr>
        </p:nvSpPr>
        <p:spPr>
          <a:xfrm>
            <a:off x="168135" y="1115786"/>
            <a:ext cx="58192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Evento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: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Despressurização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5" name="CaixaDeTexto 4"/>
          <p:cNvSpPr txBox="1"/>
          <p:nvPr>
            <p:custDataLst>
              <p:tags r:id="rId6"/>
            </p:custDataLst>
          </p:nvPr>
        </p:nvSpPr>
        <p:spPr>
          <a:xfrm>
            <a:off x="153652" y="1630679"/>
            <a:ext cx="61364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Data: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27/03/2016</a:t>
            </a:r>
            <a:r>
              <a:rPr lang="en-US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</a:t>
            </a:r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Hora: 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21:50 UTC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6" name="CaixaDeTexto 5"/>
          <p:cNvSpPr txBox="1"/>
          <p:nvPr>
            <p:custDataLst>
              <p:tags r:id="rId7"/>
            </p:custDataLst>
          </p:nvPr>
        </p:nvSpPr>
        <p:spPr>
          <a:xfrm>
            <a:off x="153652" y="2186613"/>
            <a:ext cx="6897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Voo: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2179		</a:t>
            </a:r>
            <a:r>
              <a:rPr lang="en-US" b="1" dirty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Etapa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: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Belém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- Manaus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7" name="CaixaDeTexto 6"/>
          <p:cNvSpPr txBox="1"/>
          <p:nvPr>
            <p:custDataLst>
              <p:tags r:id="rId8"/>
            </p:custDataLst>
          </p:nvPr>
        </p:nvSpPr>
        <p:spPr>
          <a:xfrm>
            <a:off x="153652" y="2734002"/>
            <a:ext cx="6307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Aeronave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: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B737-700	</a:t>
            </a:r>
            <a:r>
              <a:rPr lang="en-US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</a:t>
            </a:r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 </a:t>
            </a:r>
            <a:r>
              <a:rPr lang="en-US" b="1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Matrícula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: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PR-GOV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10" name="CaixaDeTexto 9"/>
          <p:cNvSpPr txBox="1"/>
          <p:nvPr>
            <p:custDataLst>
              <p:tags r:id="rId9"/>
            </p:custDataLst>
          </p:nvPr>
        </p:nvSpPr>
        <p:spPr>
          <a:xfrm>
            <a:off x="153652" y="3325584"/>
            <a:ext cx="6307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Tripulantes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: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5</a:t>
            </a:r>
            <a:r>
              <a:rPr lang="en-US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</a:t>
            </a:r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assageiros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: 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133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11" name="CaixaDeTexto 10"/>
          <p:cNvSpPr txBox="1"/>
          <p:nvPr>
            <p:custDataLst>
              <p:tags r:id="rId10"/>
            </p:custDataLst>
          </p:nvPr>
        </p:nvSpPr>
        <p:spPr>
          <a:xfrm>
            <a:off x="153652" y="3847316"/>
            <a:ext cx="6307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Lesões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: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Nenhuma</a:t>
            </a:r>
            <a:r>
              <a:rPr lang="en-US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</a:t>
            </a:r>
            <a:r>
              <a:rPr lang="en-US" b="1" dirty="0" smtClean="0">
                <a:solidFill>
                  <a:srgbClr val="FF00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Danos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: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Nenhum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pic>
        <p:nvPicPr>
          <p:cNvPr id="12" name="Picture 4" descr="https://imgproc.airliners.net/photos/airliners/9/7/4/2557479.jpg?v=v40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49" b="23854"/>
          <a:stretch/>
        </p:blipFill>
        <p:spPr bwMode="auto">
          <a:xfrm>
            <a:off x="1091661" y="4608169"/>
            <a:ext cx="4481839" cy="1943853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3" name="Imagem 12"/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79" r="11257"/>
          <a:stretch/>
        </p:blipFill>
        <p:spPr>
          <a:xfrm>
            <a:off x="6788762" y="473530"/>
            <a:ext cx="5047488" cy="5468876"/>
          </a:xfrm>
          <a:prstGeom prst="rect">
            <a:avLst/>
          </a:prstGeom>
          <a:ln>
            <a:solidFill>
              <a:srgbClr val="FF5A00"/>
            </a:solidFill>
          </a:ln>
        </p:spPr>
      </p:pic>
      <p:cxnSp>
        <p:nvCxnSpPr>
          <p:cNvPr id="14" name="Conector de seta reta 13"/>
          <p:cNvCxnSpPr/>
          <p:nvPr>
            <p:custDataLst>
              <p:tags r:id="rId13"/>
            </p:custDataLst>
          </p:nvPr>
        </p:nvCxnSpPr>
        <p:spPr>
          <a:xfrm flipH="1">
            <a:off x="7789854" y="2545059"/>
            <a:ext cx="2927350" cy="444500"/>
          </a:xfrm>
          <a:prstGeom prst="straightConnector1">
            <a:avLst/>
          </a:prstGeom>
          <a:ln w="762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819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rpcoelho\AppData\Local\Microsoft\Windows\Temporary Internet Files\Content.Outlook\2FALB030\IMG_0456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7" t="14756" r="13259" b="8267"/>
          <a:stretch/>
        </p:blipFill>
        <p:spPr bwMode="auto">
          <a:xfrm>
            <a:off x="3615060" y="1955052"/>
            <a:ext cx="3022924" cy="3930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rpcoelho\AppData\Local\Microsoft\Windows\Temporary Internet Files\Content.Outlook\2FALB030\IMG_0455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84" t="10971" r="6304" b="21467"/>
          <a:stretch/>
        </p:blipFill>
        <p:spPr bwMode="auto">
          <a:xfrm>
            <a:off x="178036" y="2225779"/>
            <a:ext cx="3022451" cy="3118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10"/>
          <p:cNvSpPr txBox="1">
            <a:spLocks/>
          </p:cNvSpPr>
          <p:nvPr/>
        </p:nvSpPr>
        <p:spPr>
          <a:xfrm>
            <a:off x="179021" y="15913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Informações Factuais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79020" y="985154"/>
            <a:ext cx="118422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Histórico</a:t>
            </a:r>
            <a:r>
              <a:rPr lang="en-US" b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: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urante a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fase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e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cruzeiro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, no FL380,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houve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acendimento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as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luzes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“BLEED TRIP OFF” 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no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ainel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e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ressurização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,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rimeiramente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a </a:t>
            </a:r>
            <a:r>
              <a:rPr lang="en-US" i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Bleed Valve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esquerda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e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em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seguida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a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direita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.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539648" y="3228019"/>
            <a:ext cx="659186" cy="90687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tângulo 14"/>
          <p:cNvSpPr/>
          <p:nvPr/>
        </p:nvSpPr>
        <p:spPr>
          <a:xfrm>
            <a:off x="4172092" y="4724912"/>
            <a:ext cx="659186" cy="34160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aixaDeTexto 7"/>
          <p:cNvSpPr txBox="1"/>
          <p:nvPr/>
        </p:nvSpPr>
        <p:spPr>
          <a:xfrm>
            <a:off x="6774756" y="2969382"/>
            <a:ext cx="514902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BR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A luz </a:t>
            </a:r>
            <a:r>
              <a:rPr lang="pt-BR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ambar</a:t>
            </a:r>
            <a:r>
              <a:rPr lang="pt-BR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</a:t>
            </a:r>
            <a:r>
              <a:rPr lang="pt-BR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BLEED TRIP OFF </a:t>
            </a:r>
            <a:r>
              <a:rPr lang="pt-BR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acende por indicação de temperatura ou pressão excessivas.</a:t>
            </a:r>
          </a:p>
          <a:p>
            <a:pPr marL="285750" indent="-285750">
              <a:spcAft>
                <a:spcPts val="600"/>
              </a:spcAft>
              <a:buClr>
                <a:srgbClr val="FF5A00"/>
              </a:buClr>
              <a:buFont typeface="Lucida Sans" panose="020B0602030504020204" pitchFamily="34" charset="0"/>
              <a:buChar char="I"/>
            </a:pPr>
            <a:r>
              <a:rPr lang="pt-BR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A respectiva válvula fechará automaticamente e;</a:t>
            </a:r>
          </a:p>
          <a:p>
            <a:pPr marL="285750" indent="-285750">
              <a:spcAft>
                <a:spcPts val="600"/>
              </a:spcAft>
              <a:buClr>
                <a:srgbClr val="FF5A00"/>
              </a:buClr>
              <a:buFont typeface="Lucida Sans" panose="020B0602030504020204" pitchFamily="34" charset="0"/>
              <a:buChar char="I"/>
            </a:pPr>
            <a:r>
              <a:rPr lang="pt-BR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O reset da válvula deve ser feito manualmente para ela voltar a condição normal.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349707" y="6046760"/>
            <a:ext cx="10262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Seguindo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o checklist,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os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tripulantes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tentaram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recuperar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o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controle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a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cabine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através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o </a:t>
            </a:r>
            <a:r>
              <a:rPr lang="en-US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TRIP RESET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,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orém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não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obtiveram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sucesso</a:t>
            </a:r>
            <a:r>
              <a:rPr lang="en-US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.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277" y="2263808"/>
            <a:ext cx="1747436" cy="642807"/>
          </a:xfrm>
          <a:prstGeom prst="rect">
            <a:avLst/>
          </a:prstGeom>
        </p:spPr>
      </p:pic>
      <p:sp>
        <p:nvSpPr>
          <p:cNvPr id="18" name="Retângulo 17"/>
          <p:cNvSpPr/>
          <p:nvPr/>
        </p:nvSpPr>
        <p:spPr>
          <a:xfrm>
            <a:off x="5403912" y="4725651"/>
            <a:ext cx="659186" cy="34160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lipse 2"/>
          <p:cNvSpPr/>
          <p:nvPr/>
        </p:nvSpPr>
        <p:spPr>
          <a:xfrm>
            <a:off x="4819086" y="4437888"/>
            <a:ext cx="605386" cy="877824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Conector reto 9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535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5" grpId="0" animBg="1"/>
      <p:bldP spid="8" grpId="0"/>
      <p:bldP spid="22" grpId="0"/>
      <p:bldP spid="18" grpId="0" animBg="1"/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 txBox="1">
            <a:spLocks/>
          </p:cNvSpPr>
          <p:nvPr/>
        </p:nvSpPr>
        <p:spPr>
          <a:xfrm>
            <a:off x="179021" y="15913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Informações Factuais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79022" y="1866593"/>
            <a:ext cx="745097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pt-BR" dirty="0">
                <a:latin typeface="Lucida Sans" panose="020B0602030504020204" pitchFamily="34" charset="0"/>
                <a:cs typeface="Lucida Sans" panose="020B0602030504020204" pitchFamily="34" charset="0"/>
              </a:rPr>
              <a:t>Devido o </a:t>
            </a:r>
            <a:r>
              <a:rPr lang="pt-BR" i="1" dirty="0" err="1">
                <a:latin typeface="Lucida Sans" panose="020B0602030504020204" pitchFamily="34" charset="0"/>
                <a:cs typeface="Lucida Sans" panose="020B0602030504020204" pitchFamily="34" charset="0"/>
              </a:rPr>
              <a:t>climb</a:t>
            </a:r>
            <a:r>
              <a:rPr lang="pt-BR" dirty="0">
                <a:latin typeface="Lucida Sans" panose="020B0602030504020204" pitchFamily="34" charset="0"/>
                <a:cs typeface="Lucida Sans" panose="020B0602030504020204" pitchFamily="34" charset="0"/>
              </a:rPr>
              <a:t> de cabine permanecer 2000ft/min positivo, mesmo com a </a:t>
            </a:r>
            <a:r>
              <a:rPr lang="pt-BR" i="1" dirty="0" err="1">
                <a:latin typeface="Lucida Sans" panose="020B0602030504020204" pitchFamily="34" charset="0"/>
                <a:cs typeface="Lucida Sans" panose="020B0602030504020204" pitchFamily="34" charset="0"/>
              </a:rPr>
              <a:t>outflow</a:t>
            </a:r>
            <a:r>
              <a:rPr lang="pt-BR" i="1" dirty="0">
                <a:latin typeface="Lucida Sans" panose="020B0602030504020204" pitchFamily="34" charset="0"/>
                <a:cs typeface="Lucida Sans" panose="020B0602030504020204" pitchFamily="34" charset="0"/>
              </a:rPr>
              <a:t> </a:t>
            </a:r>
            <a:r>
              <a:rPr lang="pt-BR" dirty="0">
                <a:latin typeface="Lucida Sans" panose="020B0602030504020204" pitchFamily="34" charset="0"/>
                <a:cs typeface="Lucida Sans" panose="020B0602030504020204" pitchFamily="34" charset="0"/>
              </a:rPr>
              <a:t>totalmente fechada, iniciaram descida para o FL100, entretanto, a altitude interna da cabine atingiu 10.000 pés, o que acarretou na decisão de realizarem descida de emergência (declarando emergência).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179022" y="4043294"/>
            <a:ext cx="745097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pt-BR" dirty="0">
                <a:latin typeface="Lucida Sans" panose="020B0602030504020204" pitchFamily="34" charset="0"/>
                <a:cs typeface="Lucida Sans" panose="020B0602030504020204" pitchFamily="34" charset="0"/>
              </a:rPr>
              <a:t>Ao cruzar aproximadamente o FL300, a altitude de cabine ultrapassou 14.000 pés e as máscaras caíram. O voo prosseguiu no FL100 até o destino e o pouso ocorreu sem demais anormalidades. Passageiros e tripulantes desembarcaram sem sofrerem qualquer tipo de lesão.</a:t>
            </a:r>
            <a:endParaRPr lang="en-US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8456894" y="1526616"/>
            <a:ext cx="3104270" cy="3274769"/>
            <a:chOff x="5909309" y="3131344"/>
            <a:chExt cx="2809875" cy="2809875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9309" y="3131344"/>
              <a:ext cx="2809875" cy="2809875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9" name="Conector de seta reta 18"/>
            <p:cNvCxnSpPr/>
            <p:nvPr/>
          </p:nvCxnSpPr>
          <p:spPr>
            <a:xfrm flipV="1">
              <a:off x="7119937" y="3893344"/>
              <a:ext cx="388620" cy="642938"/>
            </a:xfrm>
            <a:prstGeom prst="straightConnector1">
              <a:avLst/>
            </a:prstGeom>
            <a:ln>
              <a:solidFill>
                <a:schemeClr val="bg1"/>
              </a:solidFill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9" name="Conector reto 8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0294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 txBox="1">
            <a:spLocks/>
          </p:cNvSpPr>
          <p:nvPr/>
        </p:nvSpPr>
        <p:spPr>
          <a:xfrm>
            <a:off x="179021" y="210650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>
          <a:xfrm>
            <a:off x="179021" y="851729"/>
            <a:ext cx="8458200" cy="701675"/>
          </a:xfrm>
          <a:prstGeom prst="rect">
            <a:avLst/>
          </a:prstGeom>
        </p:spPr>
        <p:txBody>
          <a:bodyPr/>
          <a:lstStyle>
            <a:lvl1pPr algn="l" defTabSz="6096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b="1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Condições</a:t>
            </a:r>
            <a:r>
              <a:rPr lang="en-GB" sz="2000" b="1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</a:t>
            </a:r>
            <a:r>
              <a:rPr lang="en-GB" sz="2000" b="1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Latentes</a:t>
            </a:r>
            <a:endParaRPr lang="en-GB" sz="2000" b="1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179021" y="1436828"/>
            <a:ext cx="11373328" cy="438352"/>
          </a:xfrm>
          <a:prstGeom prst="rect">
            <a:avLst/>
          </a:prstGeom>
        </p:spPr>
        <p:txBody>
          <a:bodyPr/>
          <a:lstStyle>
            <a:lvl1pPr marL="152416" indent="-152416" algn="l" defTabSz="60966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7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907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3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56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39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22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1060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000" b="1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Confiabilidade</a:t>
            </a:r>
            <a:r>
              <a:rPr lang="en-GB" sz="2000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da PCCV - PRECOOLER CONTROL VALVE</a:t>
            </a:r>
          </a:p>
        </p:txBody>
      </p:sp>
      <p:grpSp>
        <p:nvGrpSpPr>
          <p:cNvPr id="19" name="Grupo 18"/>
          <p:cNvGrpSpPr/>
          <p:nvPr/>
        </p:nvGrpSpPr>
        <p:grpSpPr>
          <a:xfrm>
            <a:off x="2150775" y="2029728"/>
            <a:ext cx="5364086" cy="4596341"/>
            <a:chOff x="5105400" y="2188845"/>
            <a:chExt cx="3810000" cy="3779520"/>
          </a:xfrm>
        </p:grpSpPr>
        <p:pic>
          <p:nvPicPr>
            <p:cNvPr id="20" name="Imagem 19"/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5400" y="2188845"/>
              <a:ext cx="3810000" cy="3779520"/>
            </a:xfrm>
            <a:prstGeom prst="rect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</p:pic>
        <p:sp>
          <p:nvSpPr>
            <p:cNvPr id="21" name="Elipse 20"/>
            <p:cNvSpPr/>
            <p:nvPr/>
          </p:nvSpPr>
          <p:spPr>
            <a:xfrm>
              <a:off x="7010400" y="2438400"/>
              <a:ext cx="647700" cy="41910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1117731" y="2042607"/>
            <a:ext cx="5521245" cy="4459807"/>
            <a:chOff x="-869359" y="2381866"/>
            <a:chExt cx="4319905" cy="3225165"/>
          </a:xfrm>
        </p:grpSpPr>
        <p:pic>
          <p:nvPicPr>
            <p:cNvPr id="23" name="Imagem 22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9359" y="2381866"/>
              <a:ext cx="4319905" cy="3225165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sp>
          <p:nvSpPr>
            <p:cNvPr id="24" name="Seta para baixo 23"/>
            <p:cNvSpPr/>
            <p:nvPr/>
          </p:nvSpPr>
          <p:spPr>
            <a:xfrm>
              <a:off x="1553429" y="2663774"/>
              <a:ext cx="152400" cy="304800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2" name="Conector reto 11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2619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"/>
          <p:cNvSpPr txBox="1">
            <a:spLocks/>
          </p:cNvSpPr>
          <p:nvPr/>
        </p:nvSpPr>
        <p:spPr>
          <a:xfrm>
            <a:off x="905271" y="1084599"/>
            <a:ext cx="8458200" cy="584775"/>
          </a:xfrm>
          <a:prstGeom prst="rect">
            <a:avLst/>
          </a:prstGeom>
        </p:spPr>
        <p:txBody>
          <a:bodyPr/>
          <a:lstStyle>
            <a:lvl1pPr algn="l" defTabSz="6096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b="1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PCCV - PRECOOLER CONTROL VALVE</a:t>
            </a:r>
            <a:endParaRPr lang="en-US" sz="2400" b="1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14" name="Espaço Reservado para Conteúdo 2"/>
          <p:cNvSpPr txBox="1">
            <a:spLocks/>
          </p:cNvSpPr>
          <p:nvPr/>
        </p:nvSpPr>
        <p:spPr>
          <a:xfrm>
            <a:off x="892390" y="1763336"/>
            <a:ext cx="10415253" cy="4191000"/>
          </a:xfrm>
          <a:prstGeom prst="rect">
            <a:avLst/>
          </a:prstGeom>
        </p:spPr>
        <p:txBody>
          <a:bodyPr/>
          <a:lstStyle>
            <a:lvl1pPr marL="152416" indent="-152416" algn="l" defTabSz="60966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7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907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3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56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39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22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1060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Existe </a:t>
            </a:r>
            <a:r>
              <a:rPr lang="pt-BR" sz="2000" dirty="0">
                <a:latin typeface="Lucida Sans" panose="020B0602030504020204" pitchFamily="34" charset="0"/>
                <a:cs typeface="Lucida Sans" panose="020B0602030504020204" pitchFamily="34" charset="0"/>
              </a:rPr>
              <a:t>um histórico de baixa confiabilidade relacionada às </a:t>
            </a:r>
            <a:r>
              <a:rPr lang="pt-BR" sz="20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PCCVs</a:t>
            </a:r>
            <a:r>
              <a:rPr lang="pt-BR" sz="2000" dirty="0">
                <a:latin typeface="Lucida Sans" panose="020B0602030504020204" pitchFamily="34" charset="0"/>
                <a:cs typeface="Lucida Sans" panose="020B0602030504020204" pitchFamily="34" charset="0"/>
              </a:rPr>
              <a:t> descrito em pelo menos três </a:t>
            </a:r>
            <a:r>
              <a:rPr lang="pt-BR" sz="20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Fleet</a:t>
            </a:r>
            <a:r>
              <a:rPr lang="pt-BR" sz="2000" dirty="0">
                <a:latin typeface="Lucida Sans" panose="020B0602030504020204" pitchFamily="34" charset="0"/>
                <a:cs typeface="Lucida Sans" panose="020B0602030504020204" pitchFamily="34" charset="0"/>
              </a:rPr>
              <a:t> Team </a:t>
            </a:r>
            <a:r>
              <a:rPr lang="pt-BR" sz="20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Digests</a:t>
            </a:r>
            <a:r>
              <a:rPr lang="pt-BR" sz="2000" dirty="0">
                <a:latin typeface="Lucida Sans" panose="020B0602030504020204" pitchFamily="34" charset="0"/>
                <a:cs typeface="Lucida Sans" panose="020B0602030504020204" pitchFamily="34" charset="0"/>
              </a:rPr>
              <a:t> (</a:t>
            </a:r>
            <a:r>
              <a:rPr lang="pt-BR" sz="20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FTDs</a:t>
            </a:r>
            <a:r>
              <a:rPr lang="pt-BR" sz="2000" dirty="0">
                <a:latin typeface="Lucida Sans" panose="020B0602030504020204" pitchFamily="34" charset="0"/>
                <a:cs typeface="Lucida Sans" panose="020B0602030504020204" pitchFamily="34" charset="0"/>
              </a:rPr>
              <a:t>) pela </a:t>
            </a:r>
            <a:r>
              <a:rPr lang="pt-BR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Boeing.</a:t>
            </a:r>
            <a:endParaRPr lang="en-US" sz="2000" dirty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marL="0" indent="0" algn="just">
              <a:buNone/>
            </a:pPr>
            <a:endParaRPr lang="en-US" sz="2400" dirty="0" smtClean="0"/>
          </a:p>
          <a:p>
            <a:pPr marL="0" indent="0" algn="just">
              <a:buNone/>
            </a:pPr>
            <a:r>
              <a:rPr lang="en-US" sz="2400" dirty="0" smtClean="0">
                <a:solidFill>
                  <a:srgbClr val="FF5A00"/>
                </a:solidFill>
                <a:sym typeface="Wingdings"/>
              </a:rPr>
              <a:t></a:t>
            </a:r>
            <a:r>
              <a:rPr lang="en-US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FTD-36-06003 </a:t>
            </a:r>
            <a:r>
              <a:rPr lang="en-US" sz="2000" i="1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Precooler</a:t>
            </a:r>
            <a:r>
              <a:rPr lang="en-US" sz="2000" i="1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Control Valve and Pressure Relief Shut Off Valve Anomalies</a:t>
            </a:r>
            <a:r>
              <a:rPr lang="en-US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(Jun/2010) </a:t>
            </a:r>
            <a:r>
              <a:rPr lang="en-US" sz="2000" i="1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P/N – 5;</a:t>
            </a:r>
          </a:p>
          <a:p>
            <a:pPr marL="0" indent="0" algn="just">
              <a:buNone/>
            </a:pPr>
            <a:endParaRPr lang="en-US" sz="2000" i="1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marL="0" indent="0" algn="just">
              <a:buNone/>
            </a:pPr>
            <a:r>
              <a:rPr lang="en-US" sz="20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FTD-36-11001 </a:t>
            </a:r>
            <a:r>
              <a:rPr lang="en-US" sz="2000" i="1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Reliability of </a:t>
            </a:r>
            <a:r>
              <a:rPr lang="en-US" sz="2000" i="1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Precooler</a:t>
            </a:r>
            <a:r>
              <a:rPr lang="en-US" sz="2000" i="1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Control Valve P/N 3289562-6 (Jul/2014)</a:t>
            </a:r>
          </a:p>
          <a:p>
            <a:pPr marL="304830" lvl="1" indent="0" algn="just">
              <a:buNone/>
            </a:pPr>
            <a:r>
              <a:rPr lang="en-US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Dash 6 PCCV have been failing at a rate higher than dash 5 valves;</a:t>
            </a:r>
          </a:p>
          <a:p>
            <a:pPr marL="304830" lvl="1" indent="0" algn="just">
              <a:buNone/>
            </a:pPr>
            <a:endParaRPr lang="en-US" sz="2000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marL="0" indent="0" algn="just">
              <a:buNone/>
            </a:pPr>
            <a:r>
              <a:rPr lang="en-US" sz="20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FTD-36-14001 </a:t>
            </a:r>
            <a:r>
              <a:rPr lang="en-US" sz="2000" i="1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Reliability of </a:t>
            </a:r>
            <a:r>
              <a:rPr lang="en-US" sz="2000" i="1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Precooler</a:t>
            </a:r>
            <a:r>
              <a:rPr lang="en-US" sz="2000" i="1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Control Valve P/N 3289562-7 (Jul/2014)</a:t>
            </a:r>
          </a:p>
          <a:p>
            <a:pPr marL="304830" lvl="1" indent="0" algn="just">
              <a:buNone/>
            </a:pPr>
            <a:r>
              <a:rPr lang="en-US" sz="20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Dash 7 PCCV have been failing at a rate higher than dash 5 and 6 valves.</a:t>
            </a:r>
          </a:p>
          <a:p>
            <a:pPr algn="just"/>
            <a:endParaRPr lang="en-US" sz="2400" dirty="0" smtClean="0"/>
          </a:p>
          <a:p>
            <a:pPr algn="just"/>
            <a:endParaRPr lang="en-US" sz="2400" dirty="0"/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179021" y="249287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cxnSp>
        <p:nvCxnSpPr>
          <p:cNvPr id="8" name="Conector reto 7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620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 txBox="1">
            <a:spLocks/>
          </p:cNvSpPr>
          <p:nvPr/>
        </p:nvSpPr>
        <p:spPr>
          <a:xfrm>
            <a:off x="457200" y="1116658"/>
            <a:ext cx="8458200" cy="701675"/>
          </a:xfrm>
          <a:prstGeom prst="rect">
            <a:avLst/>
          </a:prstGeom>
        </p:spPr>
        <p:txBody>
          <a:bodyPr/>
          <a:lstStyle>
            <a:lvl1pPr algn="l" defTabSz="6096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Componente do evento</a:t>
            </a:r>
            <a:endParaRPr lang="en-US" sz="2400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8" name="Espaço Reservado para Conteúdo 2"/>
          <p:cNvSpPr txBox="1">
            <a:spLocks/>
          </p:cNvSpPr>
          <p:nvPr/>
        </p:nvSpPr>
        <p:spPr>
          <a:xfrm>
            <a:off x="567559" y="1939341"/>
            <a:ext cx="10096148" cy="3455988"/>
          </a:xfrm>
          <a:prstGeom prst="rect">
            <a:avLst/>
          </a:prstGeom>
        </p:spPr>
        <p:txBody>
          <a:bodyPr/>
          <a:lstStyle>
            <a:lvl1pPr marL="152416" indent="-152416" algn="l" defTabSz="60966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2076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6907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73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7656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139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86228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1060" indent="-152416" algn="l" defTabSz="609660" rtl="0" eaLnBrk="1" latinLnBrk="0" hangingPunct="1">
              <a:lnSpc>
                <a:spcPct val="90000"/>
              </a:lnSpc>
              <a:spcBef>
                <a:spcPts val="333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sz="24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PRECOOLER CONTROL VALVE (PCCV)</a:t>
            </a:r>
          </a:p>
          <a:p>
            <a:pPr marL="0" indent="0">
              <a:buFont typeface="Arial"/>
              <a:buNone/>
            </a:pPr>
            <a:endParaRPr lang="pt-BR" sz="2800" b="1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marL="304830" lvl="1" indent="0">
              <a:buNone/>
            </a:pPr>
            <a:r>
              <a:rPr lang="pt-BR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P/N 3289562-5</a:t>
            </a:r>
            <a:endParaRPr lang="en-US" sz="2400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marL="304830" lvl="1" indent="0">
              <a:buNone/>
            </a:pPr>
            <a:r>
              <a:rPr lang="pt-BR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P/N 3289562-5 </a:t>
            </a:r>
          </a:p>
          <a:p>
            <a:pPr marL="457200" lvl="1" indent="0">
              <a:buFont typeface="Arial"/>
              <a:buNone/>
            </a:pPr>
            <a:endParaRPr lang="pt-BR" sz="2800" dirty="0" smtClean="0">
              <a:latin typeface="Lucida Sans" panose="020B0602030504020204" pitchFamily="34" charset="0"/>
              <a:cs typeface="Lucida Sans" panose="020B0602030504020204" pitchFamily="34" charset="0"/>
            </a:endParaRPr>
          </a:p>
          <a:p>
            <a:pPr marL="609660" lvl="2" indent="0" algn="just">
              <a:buNone/>
            </a:pP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De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acord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com a Gerência de Qualidade da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Diretoria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de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Manutençã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, a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probabilidade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de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falha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do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componente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 com </a:t>
            </a:r>
            <a:r>
              <a:rPr lang="en-US" sz="24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3000 horas de </a:t>
            </a:r>
            <a:r>
              <a:rPr lang="en-US" sz="24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voo</a:t>
            </a:r>
            <a:r>
              <a:rPr lang="en-US" sz="24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é de 46%.</a:t>
            </a:r>
            <a:endParaRPr lang="en-US" sz="24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9" name="Chave direita 8"/>
          <p:cNvSpPr/>
          <p:nvPr/>
        </p:nvSpPr>
        <p:spPr>
          <a:xfrm>
            <a:off x="3415532" y="2735624"/>
            <a:ext cx="304800" cy="762000"/>
          </a:xfrm>
          <a:prstGeom prst="rightBrac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aixaDeTexto 9"/>
          <p:cNvSpPr txBox="1"/>
          <p:nvPr/>
        </p:nvSpPr>
        <p:spPr>
          <a:xfrm>
            <a:off x="3870952" y="2833727"/>
            <a:ext cx="7668519" cy="565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eaLnBrk="0" hangingPunct="0">
              <a:spcBef>
                <a:spcPct val="20000"/>
              </a:spcBef>
              <a:buClr>
                <a:srgbClr val="FF8305"/>
              </a:buClr>
              <a:buFont typeface="Wingdings 3" pitchFamily="18" charset="2"/>
              <a:buChar char="Ö"/>
              <a:defRPr sz="2800" b="1">
                <a:solidFill>
                  <a:srgbClr val="0A4279"/>
                </a:solidFill>
                <a:latin typeface="+mn-lt"/>
              </a:defRPr>
            </a:lvl1pPr>
            <a:lvl2pPr marL="742950" lvl="1" indent="-285750" eaLnBrk="0" hangingPunct="0">
              <a:spcBef>
                <a:spcPct val="20000"/>
              </a:spcBef>
              <a:buClr>
                <a:srgbClr val="B4DB0E"/>
              </a:buClr>
              <a:buFont typeface="Wingdings 3" pitchFamily="18" charset="2"/>
              <a:buChar char="Ö"/>
              <a:defRPr sz="2400">
                <a:solidFill>
                  <a:srgbClr val="0A4279"/>
                </a:solidFill>
                <a:latin typeface="+mn-lt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10048"/>
              </a:buClr>
              <a:buFont typeface="Wingdings 3" pitchFamily="18" charset="2"/>
              <a:buChar char="Ö"/>
              <a:defRPr sz="2000">
                <a:solidFill>
                  <a:srgbClr val="0A4279"/>
                </a:solidFill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936FB1"/>
              </a:buClr>
              <a:buFont typeface="Wingdings 3" pitchFamily="18" charset="2"/>
              <a:buChar char="Ö"/>
              <a:defRPr>
                <a:solidFill>
                  <a:srgbClr val="0A4279"/>
                </a:solidFill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rgbClr val="0B2B5C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0B2B5C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0B2B5C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0B2B5C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0B2B5C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Falharam</a:t>
            </a:r>
            <a:r>
              <a:rPr lang="en-US" sz="20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com </a:t>
            </a:r>
            <a:r>
              <a:rPr lang="en-US" sz="20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proximadamente</a:t>
            </a:r>
            <a:r>
              <a:rPr lang="en-US" sz="20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3.000 horas de </a:t>
            </a:r>
            <a:r>
              <a:rPr lang="en-US" sz="20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voo</a:t>
            </a:r>
            <a:endParaRPr lang="en-US" sz="20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11" name="Text Placeholder 10"/>
          <p:cNvSpPr txBox="1">
            <a:spLocks/>
          </p:cNvSpPr>
          <p:nvPr/>
        </p:nvSpPr>
        <p:spPr>
          <a:xfrm>
            <a:off x="179021" y="28792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8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aixaDeTexto 14"/>
          <p:cNvSpPr txBox="1"/>
          <p:nvPr/>
        </p:nvSpPr>
        <p:spPr>
          <a:xfrm>
            <a:off x="856593" y="1331399"/>
            <a:ext cx="98692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FF5A00"/>
              </a:buClr>
            </a:pPr>
            <a:r>
              <a:rPr lang="en-US" sz="24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Honeywell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agendou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a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ublicaçã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e um </a:t>
            </a:r>
            <a:r>
              <a:rPr lang="en-US" sz="2400" i="1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Component Service Bulletin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contend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instruções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 para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modificar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versões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-5 e -6 da PCCVs para a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versã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-7;</a:t>
            </a:r>
            <a:endParaRPr lang="en-US" sz="2400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873672" y="3087447"/>
            <a:ext cx="98692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FF5A00"/>
              </a:buClr>
            </a:pPr>
            <a:r>
              <a:rPr lang="en-US" sz="24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Operadores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reportaram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em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julh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e 2013 a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remoçã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e PCCVs – 7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devid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desgaste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rematur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;</a:t>
            </a:r>
            <a:endParaRPr lang="en-US" sz="2400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43713" y="4419155"/>
            <a:ext cx="10695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FF5A00"/>
              </a:buClr>
            </a:pPr>
            <a:r>
              <a:rPr lang="en-US" sz="24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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</a:rPr>
              <a:t>Em </a:t>
            </a:r>
            <a:r>
              <a:rPr lang="pt-BR" sz="24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400" dirty="0" err="1" smtClean="0">
                <a:latin typeface="Lucida Sans" panose="020B0602030504020204" pitchFamily="34" charset="0"/>
                <a:cs typeface="Lucida Sans" panose="020B0602030504020204" pitchFamily="34" charset="0"/>
              </a:rPr>
              <a:t>br</a:t>
            </a:r>
            <a:r>
              <a:rPr lang="pt-BR" sz="2400" dirty="0" smtClean="0">
                <a:latin typeface="Lucida Sans" panose="020B0602030504020204" pitchFamily="34" charset="0"/>
                <a:cs typeface="Lucida Sans" panose="020B0602030504020204" pitchFamily="34" charset="0"/>
              </a:rPr>
              <a:t>/2014</a:t>
            </a: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</a:rPr>
              <a:t>, a Boeing e a </a:t>
            </a:r>
            <a:r>
              <a:rPr lang="pt-BR" sz="24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Honeywell</a:t>
            </a: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</a:rPr>
              <a:t> cessaram a entrega das </a:t>
            </a:r>
            <a:r>
              <a:rPr lang="pt-BR" sz="24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PCCV’s</a:t>
            </a: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</a:rPr>
              <a:t> versão -7, retornando a instalação das </a:t>
            </a:r>
            <a:r>
              <a:rPr lang="pt-BR" sz="24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PCCV’s</a:t>
            </a: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</a:rPr>
              <a:t> para versão -5, de modo converter as </a:t>
            </a:r>
            <a:r>
              <a:rPr lang="pt-BR" sz="2400" dirty="0" err="1">
                <a:latin typeface="Lucida Sans" panose="020B0602030504020204" pitchFamily="34" charset="0"/>
                <a:cs typeface="Lucida Sans" panose="020B0602030504020204" pitchFamily="34" charset="0"/>
              </a:rPr>
              <a:t>PCCV´s</a:t>
            </a:r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</a:rPr>
              <a:t> versão -7 e versão -6, para versão -5.</a:t>
            </a:r>
            <a:endParaRPr lang="en-US" sz="2400" dirty="0"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/>
        </p:nvSpPr>
        <p:spPr>
          <a:xfrm>
            <a:off x="179021" y="28792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213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457200" y="1295401"/>
            <a:ext cx="8458200" cy="717892"/>
          </a:xfrm>
          <a:prstGeom prst="rect">
            <a:avLst/>
          </a:prstGeom>
        </p:spPr>
        <p:txBody>
          <a:bodyPr/>
          <a:lstStyle>
            <a:lvl1pPr algn="l" defTabSz="6096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Medidas</a:t>
            </a:r>
            <a:r>
              <a:rPr lang="en-GB" sz="24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 </a:t>
            </a:r>
            <a:r>
              <a:rPr lang="en-GB" sz="2400" dirty="0" err="1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P</a:t>
            </a:r>
            <a:r>
              <a:rPr lang="en-GB" sz="2400" dirty="0" err="1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reventivas</a:t>
            </a:r>
            <a:endParaRPr lang="en-GB" sz="2400" dirty="0" smtClean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54142" y="2282186"/>
            <a:ext cx="1068245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Clr>
                <a:srgbClr val="FF5A00"/>
              </a:buClr>
              <a:buFont typeface="Wingdings"/>
              <a:buChar char="Q"/>
            </a:pP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Boeing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recomendou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a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operadores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que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experimentaram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anormalidades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o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sistema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neumátic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,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com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diferença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e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pressão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e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duto</a:t>
            </a:r>
            <a:r>
              <a:rPr lang="en-US" sz="2400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ou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Bleed Trip OFF, a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realizar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check de </a:t>
            </a:r>
            <a:r>
              <a:rPr lang="en-US" sz="2400" dirty="0" err="1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funcionalidade</a:t>
            </a:r>
            <a:r>
              <a:rPr lang="en-US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 das PCCVs;</a:t>
            </a:r>
          </a:p>
          <a:p>
            <a:pPr algn="just"/>
            <a:r>
              <a:rPr lang="pt-BR" sz="2400" dirty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</a:t>
            </a:r>
            <a:r>
              <a:rPr lang="pt-BR" sz="2400" dirty="0" smtClean="0">
                <a:latin typeface="Lucida Sans" panose="020B0602030504020204" pitchFamily="34" charset="0"/>
                <a:cs typeface="Lucida Sans" panose="020B0602030504020204" pitchFamily="34" charset="0"/>
                <a:sym typeface="Wingdings"/>
              </a:rPr>
              <a:t>						-&gt; TASK 36-020-01/02</a:t>
            </a:r>
            <a:endParaRPr lang="en-US" sz="2400" dirty="0" smtClean="0">
              <a:latin typeface="Lucida Sans" panose="020B0602030504020204" pitchFamily="34" charset="0"/>
              <a:cs typeface="Lucida Sans" panose="020B0602030504020204" pitchFamily="34" charset="0"/>
              <a:sym typeface="Wingdings"/>
            </a:endParaRPr>
          </a:p>
        </p:txBody>
      </p:sp>
      <p:sp>
        <p:nvSpPr>
          <p:cNvPr id="6" name="Text Placeholder 10"/>
          <p:cNvSpPr txBox="1">
            <a:spLocks/>
          </p:cNvSpPr>
          <p:nvPr/>
        </p:nvSpPr>
        <p:spPr>
          <a:xfrm>
            <a:off x="179021" y="287924"/>
            <a:ext cx="6872079" cy="4406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4800" b="1" i="0" kern="1200">
                <a:solidFill>
                  <a:schemeClr val="tx1"/>
                </a:solidFill>
                <a:latin typeface="Sansa Soft Pro" charset="0"/>
                <a:ea typeface="Sansa Soft Pro" charset="0"/>
                <a:cs typeface="Sansa Soft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2. </a:t>
            </a:r>
            <a:r>
              <a:rPr lang="pt-BR" sz="2800" dirty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A</a:t>
            </a:r>
            <a:r>
              <a:rPr lang="pt-BR" sz="2800" dirty="0" smtClean="0">
                <a:solidFill>
                  <a:srgbClr val="FF5A00"/>
                </a:solidFill>
                <a:latin typeface="Lucida Sans" panose="020B0602030504020204" pitchFamily="34" charset="0"/>
                <a:cs typeface="Lucida Sans" panose="020B0602030504020204" pitchFamily="34" charset="0"/>
              </a:rPr>
              <a:t>nálise</a:t>
            </a:r>
            <a:endParaRPr lang="pt-BR" sz="2800" dirty="0">
              <a:solidFill>
                <a:srgbClr val="FF5A00"/>
              </a:solidFill>
              <a:latin typeface="Lucida Sans" panose="020B0602030504020204" pitchFamily="34" charset="0"/>
              <a:cs typeface="Lucida Sans" panose="020B0602030504020204" pitchFamily="34" charset="0"/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0" y="798490"/>
            <a:ext cx="12192000" cy="0"/>
          </a:xfrm>
          <a:prstGeom prst="line">
            <a:avLst/>
          </a:prstGeom>
          <a:ln w="50800">
            <a:solidFill>
              <a:srgbClr val="FF5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050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mSMvmeG0eMnMdGzVAK_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qkez3ZRECrVWgwUWfD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brrdwANkeQ004x9E7O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ngiykaLU.Jtpdc6N1a6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imjoiw_UCLRQTMCkjv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ATiD0DQUShbqf5t_Nb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lAVowm2Uaw2qEWjpwk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yLLjfivUiSNxtuIScD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s5N_w.T0Sl1qRkD29k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l7J81WwES6p49xsa5b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g3o4Vcp0GTcRSid2vA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aQos_klUykKlb_WhPf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vh9.tuikaf5LRbQJui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D8VPPP5k61sdUrZiV63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kt6AfAfUKBgKxl6mi3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NDja1EN0quP._5kQ5f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l_u.kGP02Gu5dZYJyk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NPp1X8D0SJ3ZpOPUUa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7ccr3uHEaZRJc5qRxI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ev9C8U8UW6V.mX2m6U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fYYGTZPkOa_aqLOEvz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2JQ2qMfE65nP6340oTe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Q2EivAz0ChvMSlg.xU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yTbVs1ekCGhdQW4Z44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D7lv94.UmuXGJciYVa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b2CXEcKkyZ0DakuQ59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0bkZJji0ObCB_7pPtk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0kfFqQ40G772T2YPTO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op3qHY0SABuzNbM25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h3cCur_0WYV0pWogV4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l0etA420aJN8Wqm_Jau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10</TotalTime>
  <Words>855</Words>
  <Application>Microsoft Office PowerPoint</Application>
  <PresentationFormat>Widescreen</PresentationFormat>
  <Paragraphs>128</Paragraphs>
  <Slides>18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28" baseType="lpstr">
      <vt:lpstr>Arial</vt:lpstr>
      <vt:lpstr>Calibri</vt:lpstr>
      <vt:lpstr>Lucida Sans</vt:lpstr>
      <vt:lpstr>Sansa Soft Pro</vt:lpstr>
      <vt:lpstr>Times New Roman</vt:lpstr>
      <vt:lpstr>Trebuchet MS</vt:lpstr>
      <vt:lpstr>Wingdings</vt:lpstr>
      <vt:lpstr>Wingdings 3</vt:lpstr>
      <vt:lpstr>Custom Design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gor Moiceichuka</dc:creator>
  <cp:lastModifiedBy>Ismael Moreira Lopes Sobrinho</cp:lastModifiedBy>
  <cp:revision>224</cp:revision>
  <cp:lastPrinted>2017-10-06T18:15:03Z</cp:lastPrinted>
  <dcterms:created xsi:type="dcterms:W3CDTF">2017-10-06T14:34:54Z</dcterms:created>
  <dcterms:modified xsi:type="dcterms:W3CDTF">2018-12-05T18:00:08Z</dcterms:modified>
</cp:coreProperties>
</file>